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4" r:id="rId4"/>
  </p:sldMasterIdLst>
  <p:notesMasterIdLst>
    <p:notesMasterId r:id="rId9"/>
  </p:notesMasterIdLst>
  <p:sldIdLst>
    <p:sldId id="2134805458" r:id="rId5"/>
    <p:sldId id="3085" r:id="rId6"/>
    <p:sldId id="3030" r:id="rId7"/>
    <p:sldId id="3086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98A0DB4-02F8-4249-8770-A4B86C3D3E72}">
          <p14:sldIdLst>
            <p14:sldId id="2134805458"/>
            <p14:sldId id="3085"/>
            <p14:sldId id="3030"/>
            <p14:sldId id="3086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080"/>
    <a:srgbClr val="4B4B4B"/>
    <a:srgbClr val="F3F2F1"/>
    <a:srgbClr val="737373"/>
    <a:srgbClr val="B10034"/>
    <a:srgbClr val="2D89CC"/>
    <a:srgbClr val="F18700"/>
    <a:srgbClr val="009260"/>
    <a:srgbClr val="5F5F5F"/>
    <a:srgbClr val="006D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CB96B6-374F-6A90-DE5D-1FE8786A806E}" v="271" dt="2023-07-11T11:28:49.065"/>
    <p1510:client id="{1DF19BE0-71F3-44BB-B1DE-0A750F8F3B1B}" v="22" dt="2023-07-03T08:41:39.943"/>
    <p1510:client id="{B7389622-570D-2E73-BA8E-E3A6CB2556C3}" v="3" dt="2023-07-03T07:31:51.533"/>
    <p1510:client id="{E2249FD2-83B0-5C58-FB0B-AF2D73D10962}" v="1" dt="2023-08-22T13:31:23.677"/>
    <p1510:client id="{F7B9441A-8797-BCFA-C3AB-58AF8CABB829}" v="48" dt="2023-07-11T12:28:03.3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114" y="34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tx2"/>
            </a:solidFill>
          </c:spPr>
          <c:dPt>
            <c:idx val="0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E17-4B53-8A26-F727180CC91F}"/>
              </c:ext>
            </c:extLst>
          </c:dPt>
          <c:dPt>
            <c:idx val="1"/>
            <c:bubble3D val="0"/>
            <c:spPr>
              <a:solidFill>
                <a:srgbClr val="009D6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E17-4B53-8A26-F727180CC91F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E17-4B53-8A26-F727180CC9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tx2"/>
            </a:solidFill>
          </c:spPr>
          <c:dPt>
            <c:idx val="0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334-41C6-8CE1-5A610CB47508}"/>
              </c:ext>
            </c:extLst>
          </c:dPt>
          <c:dPt>
            <c:idx val="1"/>
            <c:bubble3D val="0"/>
            <c:spPr>
              <a:solidFill>
                <a:srgbClr val="009D6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334-41C6-8CE1-5A610CB47508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334-41C6-8CE1-5A610CB475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886-4199-84E5-0F86D5B229CE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886-4199-84E5-0F86D5B229CE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886-4199-84E5-0F86D5B229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DC8-448F-8803-E95759AEF854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DC8-448F-8803-E95759AEF854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DC8-448F-8803-E95759AEF8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E1-45B4-B92C-334A5532C231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E1-45B4-B92C-334A5532C231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E1-45B4-B92C-334A5532C2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531E23-3671-4EB1-A929-4F2D23AD3768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235E42-08C2-4B51-8226-949D8765D5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611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irtschaftsinformatik.fraunhofer.de/" TargetMode="External"/><Relationship Id="rId2" Type="http://schemas.openxmlformats.org/officeDocument/2006/relationships/hyperlink" Target="http://www.fim-rc.de/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gif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eliebige*r Vortragende*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/>
              <a:t>Beliebige*r Vortragende*r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600" b="0">
                <a:solidFill>
                  <a:srgbClr val="4B4B4B"/>
                </a:solidFill>
              </a:rPr>
              <a:t>ABBA – AI </a:t>
            </a:r>
            <a:r>
              <a:rPr lang="de-DE" sz="1600" b="0" err="1">
                <a:solidFill>
                  <a:srgbClr val="4B4B4B"/>
                </a:solidFill>
              </a:rPr>
              <a:t>for</a:t>
            </a:r>
            <a:r>
              <a:rPr lang="de-DE" sz="1600" b="0">
                <a:solidFill>
                  <a:srgbClr val="4B4B4B"/>
                </a:solidFill>
              </a:rPr>
              <a:t> Business I Business </a:t>
            </a:r>
            <a:r>
              <a:rPr lang="de-DE" sz="1600" b="0" err="1">
                <a:solidFill>
                  <a:srgbClr val="4B4B4B"/>
                </a:solidFill>
              </a:rPr>
              <a:t>for</a:t>
            </a:r>
            <a:r>
              <a:rPr lang="de-DE" sz="1600" b="0">
                <a:solidFill>
                  <a:srgbClr val="4B4B4B"/>
                </a:solidFill>
              </a:rPr>
              <a:t> AI </a:t>
            </a:r>
          </a:p>
          <a:p>
            <a:pPr lvl="0"/>
            <a:endParaRPr lang="en-US"/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38">
            <a:extLst>
              <a:ext uri="{FF2B5EF4-FFF2-40B4-BE49-F238E27FC236}">
                <a16:creationId xmlns:a16="http://schemas.microsoft.com/office/drawing/2014/main" id="{86DF2652-0633-451E-ACFC-CBD7DD3682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48555" y="3045600"/>
            <a:ext cx="7092583" cy="27535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err="1"/>
              <a:t>Titel</a:t>
            </a:r>
            <a:r>
              <a:rPr lang="en-US"/>
              <a:t> und Name der/des </a:t>
            </a:r>
            <a:r>
              <a:rPr lang="en-US" err="1"/>
              <a:t>Vortragenden</a:t>
            </a:r>
            <a:endParaRPr lang="en-US"/>
          </a:p>
          <a:p>
            <a:pPr lvl="0"/>
            <a:endParaRPr lang="en-US"/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de-DE" sz="1200" b="0">
              <a:solidFill>
                <a:srgbClr val="4B4B4B"/>
              </a:solidFill>
            </a:endParaRP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8A2D0A4-929C-4059-BBE7-4297BFE74BDA}"/>
              </a:ext>
            </a:extLst>
          </p:cNvPr>
          <p:cNvSpPr txBox="1"/>
          <p:nvPr userDrawn="1"/>
        </p:nvSpPr>
        <p:spPr>
          <a:xfrm>
            <a:off x="4548554" y="3408288"/>
            <a:ext cx="7106424" cy="23604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de-DE" sz="1200" b="0" dirty="0">
              <a:solidFill>
                <a:srgbClr val="4B4B4B"/>
              </a:solidFill>
            </a:endParaRP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Hohenheim, Stuttgart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Karlsruher Institute </a:t>
            </a:r>
            <a:r>
              <a:rPr lang="de-DE" sz="1200" b="0" dirty="0" err="1">
                <a:solidFill>
                  <a:srgbClr val="4B4B4B"/>
                </a:solidFill>
              </a:rPr>
              <a:t>for</a:t>
            </a:r>
            <a:r>
              <a:rPr lang="de-DE" sz="1200" b="0" dirty="0">
                <a:solidFill>
                  <a:srgbClr val="4B4B4B"/>
                </a:solidFill>
              </a:rPr>
              <a:t> Technology, Karlsruhe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Bayreuth, Bayreuth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Frankfurt 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Applied Science, Frankfurt </a:t>
            </a:r>
          </a:p>
          <a:p>
            <a:pPr marL="0" indent="0" algn="l">
              <a:buNone/>
            </a:pPr>
            <a:endParaRPr lang="de-DE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EDB59ADC-D240-4941-9DD5-203A92C371F5}"/>
              </a:ext>
            </a:extLst>
          </p:cNvPr>
          <p:cNvSpPr txBox="1"/>
          <p:nvPr userDrawn="1"/>
        </p:nvSpPr>
        <p:spPr>
          <a:xfrm>
            <a:off x="4548554" y="608400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lvl="0"/>
            <a:endParaRPr lang="de-DE" sz="1400">
              <a:solidFill>
                <a:schemeClr val="tx2"/>
              </a:solidFill>
            </a:endParaRPr>
          </a:p>
        </p:txBody>
      </p:sp>
      <p:pic>
        <p:nvPicPr>
          <p:cNvPr id="6" name="Grafik 5" descr="Ein Bild, das Text, Schiefertafel enthält.&#10;&#10;Automatisch generierte Beschreibung">
            <a:extLst>
              <a:ext uri="{FF2B5EF4-FFF2-40B4-BE49-F238E27FC236}">
                <a16:creationId xmlns:a16="http://schemas.microsoft.com/office/drawing/2014/main" id="{F1BC8438-F46A-49DE-9E12-6433272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618"/>
          <a:stretch/>
        </p:blipFill>
        <p:spPr>
          <a:xfrm>
            <a:off x="0" y="0"/>
            <a:ext cx="431070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046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DDD8DEB7-EECE-41B5-A699-A0C1ACDEA65A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1" y="1449388"/>
            <a:ext cx="11088000" cy="44275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Fußzeilenplatzhalter 12">
            <a:extLst>
              <a:ext uri="{FF2B5EF4-FFF2-40B4-BE49-F238E27FC236}">
                <a16:creationId xmlns:a16="http://schemas.microsoft.com/office/drawing/2014/main" id="{783AA3FD-B3F6-4BCC-A437-23D9555B64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/>
              <a:t>| Vortragende*r </a:t>
            </a:r>
            <a:endParaRPr lang="en-US"/>
          </a:p>
        </p:txBody>
      </p:sp>
      <p:sp>
        <p:nvSpPr>
          <p:cNvPr id="11" name="Inhaltsplatzhalter 7">
            <a:extLst>
              <a:ext uri="{FF2B5EF4-FFF2-40B4-BE49-F238E27FC236}">
                <a16:creationId xmlns:a16="http://schemas.microsoft.com/office/drawing/2014/main" id="{6422D8EC-C3CA-413D-B435-E23AABA2009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2000" y="6201000"/>
            <a:ext cx="11088000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915391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err="1"/>
              <a:t>Inhalt_Inhalt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9489B-C028-491F-9223-F844E39D7CFC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00" y="1449388"/>
            <a:ext cx="5315369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CD8ACB48-ECD1-4E0E-9176-B1015FF608C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22566" y="1449388"/>
            <a:ext cx="5316297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Inhaltsplatzhalter 7">
            <a:extLst>
              <a:ext uri="{FF2B5EF4-FFF2-40B4-BE49-F238E27FC236}">
                <a16:creationId xmlns:a16="http://schemas.microsoft.com/office/drawing/2014/main" id="{F58655A5-70C7-4367-AAA1-B83A6CE9116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2800" y="6201000"/>
            <a:ext cx="5315369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7D76AA35-8DAB-4C1E-90FE-82769E26E26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481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FC4F1D9E-2891-459E-A138-47D4E6D1BC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</a:t>
            </a:r>
            <a:r>
              <a:rPr lang="de-DE">
                <a:solidFill>
                  <a:srgbClr val="8C8C8C"/>
                </a:solidFill>
              </a:rPr>
              <a:t> 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796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Inhalt_Bild_2/3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4210E-BA9E-4AAE-A02B-C8663630990C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00" y="1449386"/>
            <a:ext cx="7178400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82509" y="1449386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F9A99E4D-0B5F-4760-9338-D404BD1D183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82509" y="6201000"/>
            <a:ext cx="3456354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Bild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4" name="Inhaltsplatzhalter 7">
            <a:extLst>
              <a:ext uri="{FF2B5EF4-FFF2-40B4-BE49-F238E27FC236}">
                <a16:creationId xmlns:a16="http://schemas.microsoft.com/office/drawing/2014/main" id="{A651BD4C-A6A4-4605-B101-327106CF2B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000"/>
            <a:ext cx="7178400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876FF18B-9FBA-49AD-932B-0F51BF1E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C8C8C"/>
                </a:solidFill>
              </a:rPr>
              <a:t>ABBA 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2563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EE1CC6-E1D9-4ACA-B848-8CCC9A0AEA2B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0" y="1449389"/>
            <a:ext cx="11088000" cy="33513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F8754C95-D129-476E-91CD-21BBFE8673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F2DD5413-F8F9-4B27-8EAE-532F4873EA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0801" y="4961418"/>
            <a:ext cx="11088000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Lorem ipsum dolor sit amet</a:t>
            </a:r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7874AAE9-7808-455B-867F-10BC79D57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>
                <a:solidFill>
                  <a:srgbClr val="8C8C8C"/>
                </a:solidFill>
              </a:rPr>
              <a:t>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7069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Zweispaltig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5035A-49E1-4B84-B8D7-F3EFDA503BB2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0" y="1449389"/>
            <a:ext cx="5316412" cy="33513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E2DF239D-7090-482E-8513-8A5EA2BAF96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321184" y="1449389"/>
            <a:ext cx="5317616" cy="33513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70A423CE-1ED4-49EE-B700-5F9E1A1561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62E0870A-1650-47DB-9E5F-C4C693A08F7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3431" y="4960917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6" name="Inhaltsplatzhalter 7">
            <a:extLst>
              <a:ext uri="{FF2B5EF4-FFF2-40B4-BE49-F238E27FC236}">
                <a16:creationId xmlns:a16="http://schemas.microsoft.com/office/drawing/2014/main" id="{57812905-85A4-4D41-B594-9DBE67D72225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50863" y="4960916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7" name="Fußzeilenplatzhalter 12">
            <a:extLst>
              <a:ext uri="{FF2B5EF4-FFF2-40B4-BE49-F238E27FC236}">
                <a16:creationId xmlns:a16="http://schemas.microsoft.com/office/drawing/2014/main" id="{C5024CEA-7402-4E7E-B545-CDDEDE842B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>
                <a:solidFill>
                  <a:srgbClr val="8C8C8C"/>
                </a:solidFill>
              </a:rPr>
              <a:t>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04750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Inhal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Bild_Inhalt_1/3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1BACA-32E6-4A4E-9E1B-9B172B94C0AA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63589" y="1449389"/>
            <a:ext cx="7178400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0800" y="1449389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7471E5C3-2D64-419A-8EE2-8313EF24F23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63590" y="6201000"/>
            <a:ext cx="7178400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B1E808DA-B814-4D3E-89EC-C2AD849F7BC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000"/>
            <a:ext cx="3456354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Bild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A9AE359E-EB56-401E-AEDC-551F51CD85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>
                <a:solidFill>
                  <a:srgbClr val="8C8C8C"/>
                </a:solidFill>
              </a:rPr>
              <a:t>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4464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DD4110-BE23-4BA1-9D17-C4601F20C8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Nur Titel</a:t>
            </a:r>
            <a:br>
              <a:rPr lang="de-DE"/>
            </a:br>
            <a:r>
              <a:rPr lang="de-DE"/>
              <a:t>Zur freien Gestaltung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EB47C2-3C17-42A1-979F-ADB13DCEA2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E0DEC-CD5C-4FD5-8287-F2F16A3E50D9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D0547F-3831-4DE1-A9F6-CC8691685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2592323-0F20-49E2-B449-ADBAA6030981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Fußzeilenplatzhalter 12">
            <a:extLst>
              <a:ext uri="{FF2B5EF4-FFF2-40B4-BE49-F238E27FC236}">
                <a16:creationId xmlns:a16="http://schemas.microsoft.com/office/drawing/2014/main" id="{06596C1B-AB91-43EC-98A6-4016B7FB41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>
                <a:solidFill>
                  <a:srgbClr val="8C8C8C"/>
                </a:solidFill>
              </a:rPr>
              <a:t>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77405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Alternativ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57063"/>
            <a:ext cx="6096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68000" tIns="108000" rIns="432000" bIns="108000" anchor="ctr"/>
          <a:lstStyle>
            <a:lvl1pPr marL="0" indent="0" algn="l">
              <a:buNone/>
              <a:defRPr/>
            </a:lvl1pPr>
          </a:lstStyle>
          <a:p>
            <a:pPr lvl="0"/>
            <a:r>
              <a:rPr lang="de-DE"/>
              <a:t>Lorem Ipsum</a:t>
            </a:r>
            <a:endParaRPr lang="en-US"/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E7330922-7F51-4C91-8DC7-07C149FD3E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457063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7135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" y="5595038"/>
            <a:ext cx="6095999" cy="606724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Lorem Ipsum</a:t>
            </a:r>
            <a:endParaRPr lang="en-US"/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0176A9EC-3AD0-4E01-8563-18A9AB2C16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595038"/>
            <a:ext cx="232507" cy="606724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2437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9AA4FD1-AF41-4DD5-937F-459FA9235E3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3" name="Group 59">
            <a:extLst>
              <a:ext uri="{FF2B5EF4-FFF2-40B4-BE49-F238E27FC236}">
                <a16:creationId xmlns:a16="http://schemas.microsoft.com/office/drawing/2014/main" id="{8B16DD28-3358-41ED-A6FD-FD0CE2490E89}"/>
              </a:ext>
            </a:extLst>
          </p:cNvPr>
          <p:cNvGrpSpPr/>
          <p:nvPr userDrawn="1"/>
        </p:nvGrpSpPr>
        <p:grpSpPr>
          <a:xfrm>
            <a:off x="873883" y="2341625"/>
            <a:ext cx="2839915" cy="2174750"/>
            <a:chOff x="310166" y="5375508"/>
            <a:chExt cx="491206" cy="410670"/>
          </a:xfrm>
          <a:solidFill>
            <a:schemeClr val="bg1"/>
          </a:solidFill>
        </p:grpSpPr>
        <p:sp>
          <p:nvSpPr>
            <p:cNvPr id="4" name="Freeform 166">
              <a:extLst>
                <a:ext uri="{FF2B5EF4-FFF2-40B4-BE49-F238E27FC236}">
                  <a16:creationId xmlns:a16="http://schemas.microsoft.com/office/drawing/2014/main" id="{888FE86F-8894-4EA7-A86C-5B552906F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752" y="5375508"/>
              <a:ext cx="23812" cy="69850"/>
            </a:xfrm>
            <a:custGeom>
              <a:avLst/>
              <a:gdLst>
                <a:gd name="T0" fmla="*/ 8 w 15"/>
                <a:gd name="T1" fmla="*/ 44 h 44"/>
                <a:gd name="T2" fmla="*/ 8 w 15"/>
                <a:gd name="T3" fmla="*/ 44 h 44"/>
                <a:gd name="T4" fmla="*/ 11 w 15"/>
                <a:gd name="T5" fmla="*/ 44 h 44"/>
                <a:gd name="T6" fmla="*/ 13 w 15"/>
                <a:gd name="T7" fmla="*/ 42 h 44"/>
                <a:gd name="T8" fmla="*/ 15 w 15"/>
                <a:gd name="T9" fmla="*/ 40 h 44"/>
                <a:gd name="T10" fmla="*/ 15 w 15"/>
                <a:gd name="T11" fmla="*/ 37 h 44"/>
                <a:gd name="T12" fmla="*/ 15 w 15"/>
                <a:gd name="T13" fmla="*/ 7 h 44"/>
                <a:gd name="T14" fmla="*/ 15 w 15"/>
                <a:gd name="T15" fmla="*/ 7 h 44"/>
                <a:gd name="T16" fmla="*/ 15 w 15"/>
                <a:gd name="T17" fmla="*/ 5 h 44"/>
                <a:gd name="T18" fmla="*/ 13 w 15"/>
                <a:gd name="T19" fmla="*/ 4 h 44"/>
                <a:gd name="T20" fmla="*/ 11 w 15"/>
                <a:gd name="T21" fmla="*/ 2 h 44"/>
                <a:gd name="T22" fmla="*/ 8 w 15"/>
                <a:gd name="T23" fmla="*/ 0 h 44"/>
                <a:gd name="T24" fmla="*/ 8 w 15"/>
                <a:gd name="T25" fmla="*/ 0 h 44"/>
                <a:gd name="T26" fmla="*/ 4 w 15"/>
                <a:gd name="T27" fmla="*/ 2 h 44"/>
                <a:gd name="T28" fmla="*/ 2 w 15"/>
                <a:gd name="T29" fmla="*/ 4 h 44"/>
                <a:gd name="T30" fmla="*/ 0 w 15"/>
                <a:gd name="T31" fmla="*/ 5 h 44"/>
                <a:gd name="T32" fmla="*/ 0 w 15"/>
                <a:gd name="T33" fmla="*/ 7 h 44"/>
                <a:gd name="T34" fmla="*/ 0 w 15"/>
                <a:gd name="T35" fmla="*/ 37 h 44"/>
                <a:gd name="T36" fmla="*/ 0 w 15"/>
                <a:gd name="T37" fmla="*/ 37 h 44"/>
                <a:gd name="T38" fmla="*/ 0 w 15"/>
                <a:gd name="T39" fmla="*/ 40 h 44"/>
                <a:gd name="T40" fmla="*/ 2 w 15"/>
                <a:gd name="T41" fmla="*/ 42 h 44"/>
                <a:gd name="T42" fmla="*/ 4 w 15"/>
                <a:gd name="T43" fmla="*/ 44 h 44"/>
                <a:gd name="T44" fmla="*/ 8 w 15"/>
                <a:gd name="T45" fmla="*/ 44 h 44"/>
                <a:gd name="T46" fmla="*/ 8 w 15"/>
                <a:gd name="T4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" h="44">
                  <a:moveTo>
                    <a:pt x="8" y="44"/>
                  </a:moveTo>
                  <a:lnTo>
                    <a:pt x="8" y="44"/>
                  </a:lnTo>
                  <a:lnTo>
                    <a:pt x="11" y="44"/>
                  </a:lnTo>
                  <a:lnTo>
                    <a:pt x="13" y="42"/>
                  </a:lnTo>
                  <a:lnTo>
                    <a:pt x="15" y="40"/>
                  </a:lnTo>
                  <a:lnTo>
                    <a:pt x="15" y="3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5"/>
                  </a:lnTo>
                  <a:lnTo>
                    <a:pt x="13" y="4"/>
                  </a:lnTo>
                  <a:lnTo>
                    <a:pt x="11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40"/>
                  </a:lnTo>
                  <a:lnTo>
                    <a:pt x="2" y="42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5" name="Freeform 167">
              <a:extLst>
                <a:ext uri="{FF2B5EF4-FFF2-40B4-BE49-F238E27FC236}">
                  <a16:creationId xmlns:a16="http://schemas.microsoft.com/office/drawing/2014/main" id="{EE2EC14B-8A22-4353-ABAB-0571ACA5E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166" y="5551720"/>
              <a:ext cx="69850" cy="22225"/>
            </a:xfrm>
            <a:custGeom>
              <a:avLst/>
              <a:gdLst>
                <a:gd name="T0" fmla="*/ 37 w 44"/>
                <a:gd name="T1" fmla="*/ 0 h 14"/>
                <a:gd name="T2" fmla="*/ 7 w 44"/>
                <a:gd name="T3" fmla="*/ 0 h 14"/>
                <a:gd name="T4" fmla="*/ 7 w 44"/>
                <a:gd name="T5" fmla="*/ 0 h 14"/>
                <a:gd name="T6" fmla="*/ 5 w 44"/>
                <a:gd name="T7" fmla="*/ 0 h 14"/>
                <a:gd name="T8" fmla="*/ 3 w 44"/>
                <a:gd name="T9" fmla="*/ 1 h 14"/>
                <a:gd name="T10" fmla="*/ 2 w 44"/>
                <a:gd name="T11" fmla="*/ 3 h 14"/>
                <a:gd name="T12" fmla="*/ 0 w 44"/>
                <a:gd name="T13" fmla="*/ 7 h 14"/>
                <a:gd name="T14" fmla="*/ 0 w 44"/>
                <a:gd name="T15" fmla="*/ 7 h 14"/>
                <a:gd name="T16" fmla="*/ 2 w 44"/>
                <a:gd name="T17" fmla="*/ 10 h 14"/>
                <a:gd name="T18" fmla="*/ 3 w 44"/>
                <a:gd name="T19" fmla="*/ 12 h 14"/>
                <a:gd name="T20" fmla="*/ 5 w 44"/>
                <a:gd name="T21" fmla="*/ 14 h 14"/>
                <a:gd name="T22" fmla="*/ 7 w 44"/>
                <a:gd name="T23" fmla="*/ 14 h 14"/>
                <a:gd name="T24" fmla="*/ 37 w 44"/>
                <a:gd name="T25" fmla="*/ 14 h 14"/>
                <a:gd name="T26" fmla="*/ 37 w 44"/>
                <a:gd name="T27" fmla="*/ 14 h 14"/>
                <a:gd name="T28" fmla="*/ 40 w 44"/>
                <a:gd name="T29" fmla="*/ 14 h 14"/>
                <a:gd name="T30" fmla="*/ 42 w 44"/>
                <a:gd name="T31" fmla="*/ 12 h 14"/>
                <a:gd name="T32" fmla="*/ 44 w 44"/>
                <a:gd name="T33" fmla="*/ 10 h 14"/>
                <a:gd name="T34" fmla="*/ 44 w 44"/>
                <a:gd name="T35" fmla="*/ 7 h 14"/>
                <a:gd name="T36" fmla="*/ 44 w 44"/>
                <a:gd name="T37" fmla="*/ 7 h 14"/>
                <a:gd name="T38" fmla="*/ 44 w 44"/>
                <a:gd name="T39" fmla="*/ 3 h 14"/>
                <a:gd name="T40" fmla="*/ 42 w 44"/>
                <a:gd name="T41" fmla="*/ 1 h 14"/>
                <a:gd name="T42" fmla="*/ 40 w 44"/>
                <a:gd name="T43" fmla="*/ 0 h 14"/>
                <a:gd name="T44" fmla="*/ 37 w 44"/>
                <a:gd name="T45" fmla="*/ 0 h 14"/>
                <a:gd name="T46" fmla="*/ 37 w 44"/>
                <a:gd name="T4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14">
                  <a:moveTo>
                    <a:pt x="3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40" y="14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3"/>
                  </a:lnTo>
                  <a:lnTo>
                    <a:pt x="42" y="1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6" name="Freeform 168">
              <a:extLst>
                <a:ext uri="{FF2B5EF4-FFF2-40B4-BE49-F238E27FC236}">
                  <a16:creationId xmlns:a16="http://schemas.microsoft.com/office/drawing/2014/main" id="{95E13893-5155-4BDC-B790-993416A56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752" y="5423133"/>
              <a:ext cx="55562" cy="55562"/>
            </a:xfrm>
            <a:custGeom>
              <a:avLst/>
              <a:gdLst>
                <a:gd name="T0" fmla="*/ 33 w 35"/>
                <a:gd name="T1" fmla="*/ 23 h 35"/>
                <a:gd name="T2" fmla="*/ 12 w 35"/>
                <a:gd name="T3" fmla="*/ 2 h 35"/>
                <a:gd name="T4" fmla="*/ 12 w 35"/>
                <a:gd name="T5" fmla="*/ 2 h 35"/>
                <a:gd name="T6" fmla="*/ 10 w 35"/>
                <a:gd name="T7" fmla="*/ 0 h 35"/>
                <a:gd name="T8" fmla="*/ 7 w 35"/>
                <a:gd name="T9" fmla="*/ 0 h 35"/>
                <a:gd name="T10" fmla="*/ 5 w 35"/>
                <a:gd name="T11" fmla="*/ 0 h 35"/>
                <a:gd name="T12" fmla="*/ 1 w 35"/>
                <a:gd name="T13" fmla="*/ 2 h 35"/>
                <a:gd name="T14" fmla="*/ 1 w 35"/>
                <a:gd name="T15" fmla="*/ 2 h 35"/>
                <a:gd name="T16" fmla="*/ 0 w 35"/>
                <a:gd name="T17" fmla="*/ 5 h 35"/>
                <a:gd name="T18" fmla="*/ 0 w 35"/>
                <a:gd name="T19" fmla="*/ 7 h 35"/>
                <a:gd name="T20" fmla="*/ 0 w 35"/>
                <a:gd name="T21" fmla="*/ 10 h 35"/>
                <a:gd name="T22" fmla="*/ 1 w 35"/>
                <a:gd name="T23" fmla="*/ 12 h 35"/>
                <a:gd name="T24" fmla="*/ 22 w 35"/>
                <a:gd name="T25" fmla="*/ 33 h 35"/>
                <a:gd name="T26" fmla="*/ 22 w 35"/>
                <a:gd name="T27" fmla="*/ 33 h 35"/>
                <a:gd name="T28" fmla="*/ 24 w 35"/>
                <a:gd name="T29" fmla="*/ 35 h 35"/>
                <a:gd name="T30" fmla="*/ 28 w 35"/>
                <a:gd name="T31" fmla="*/ 35 h 35"/>
                <a:gd name="T32" fmla="*/ 28 w 35"/>
                <a:gd name="T33" fmla="*/ 35 h 35"/>
                <a:gd name="T34" fmla="*/ 31 w 35"/>
                <a:gd name="T35" fmla="*/ 35 h 35"/>
                <a:gd name="T36" fmla="*/ 33 w 35"/>
                <a:gd name="T37" fmla="*/ 33 h 35"/>
                <a:gd name="T38" fmla="*/ 33 w 35"/>
                <a:gd name="T39" fmla="*/ 33 h 35"/>
                <a:gd name="T40" fmla="*/ 35 w 35"/>
                <a:gd name="T41" fmla="*/ 32 h 35"/>
                <a:gd name="T42" fmla="*/ 35 w 35"/>
                <a:gd name="T43" fmla="*/ 28 h 35"/>
                <a:gd name="T44" fmla="*/ 35 w 35"/>
                <a:gd name="T45" fmla="*/ 24 h 35"/>
                <a:gd name="T46" fmla="*/ 33 w 35"/>
                <a:gd name="T47" fmla="*/ 23 h 35"/>
                <a:gd name="T48" fmla="*/ 33 w 35"/>
                <a:gd name="T49" fmla="*/ 2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" h="35">
                  <a:moveTo>
                    <a:pt x="33" y="23"/>
                  </a:moveTo>
                  <a:lnTo>
                    <a:pt x="12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10"/>
                  </a:lnTo>
                  <a:lnTo>
                    <a:pt x="1" y="12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1" y="35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5" y="32"/>
                  </a:lnTo>
                  <a:lnTo>
                    <a:pt x="35" y="28"/>
                  </a:lnTo>
                  <a:lnTo>
                    <a:pt x="35" y="24"/>
                  </a:lnTo>
                  <a:lnTo>
                    <a:pt x="33" y="23"/>
                  </a:lnTo>
                  <a:lnTo>
                    <a:pt x="33" y="23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" name="Freeform 169">
              <a:extLst>
                <a:ext uri="{FF2B5EF4-FFF2-40B4-BE49-F238E27FC236}">
                  <a16:creationId xmlns:a16="http://schemas.microsoft.com/office/drawing/2014/main" id="{A41FE90B-7032-425B-AF82-261114990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002" y="5423134"/>
              <a:ext cx="55562" cy="55562"/>
            </a:xfrm>
            <a:custGeom>
              <a:avLst/>
              <a:gdLst>
                <a:gd name="T0" fmla="*/ 34 w 35"/>
                <a:gd name="T1" fmla="*/ 2 h 35"/>
                <a:gd name="T2" fmla="*/ 34 w 35"/>
                <a:gd name="T3" fmla="*/ 2 h 35"/>
                <a:gd name="T4" fmla="*/ 30 w 35"/>
                <a:gd name="T5" fmla="*/ 0 h 35"/>
                <a:gd name="T6" fmla="*/ 28 w 35"/>
                <a:gd name="T7" fmla="*/ 0 h 35"/>
                <a:gd name="T8" fmla="*/ 25 w 35"/>
                <a:gd name="T9" fmla="*/ 0 h 35"/>
                <a:gd name="T10" fmla="*/ 23 w 35"/>
                <a:gd name="T11" fmla="*/ 2 h 35"/>
                <a:gd name="T12" fmla="*/ 2 w 35"/>
                <a:gd name="T13" fmla="*/ 23 h 35"/>
                <a:gd name="T14" fmla="*/ 2 w 35"/>
                <a:gd name="T15" fmla="*/ 23 h 35"/>
                <a:gd name="T16" fmla="*/ 0 w 35"/>
                <a:gd name="T17" fmla="*/ 24 h 35"/>
                <a:gd name="T18" fmla="*/ 0 w 35"/>
                <a:gd name="T19" fmla="*/ 28 h 35"/>
                <a:gd name="T20" fmla="*/ 0 w 35"/>
                <a:gd name="T21" fmla="*/ 32 h 35"/>
                <a:gd name="T22" fmla="*/ 2 w 35"/>
                <a:gd name="T23" fmla="*/ 33 h 35"/>
                <a:gd name="T24" fmla="*/ 2 w 35"/>
                <a:gd name="T25" fmla="*/ 33 h 35"/>
                <a:gd name="T26" fmla="*/ 4 w 35"/>
                <a:gd name="T27" fmla="*/ 35 h 35"/>
                <a:gd name="T28" fmla="*/ 7 w 35"/>
                <a:gd name="T29" fmla="*/ 35 h 35"/>
                <a:gd name="T30" fmla="*/ 7 w 35"/>
                <a:gd name="T31" fmla="*/ 35 h 35"/>
                <a:gd name="T32" fmla="*/ 11 w 35"/>
                <a:gd name="T33" fmla="*/ 35 h 35"/>
                <a:gd name="T34" fmla="*/ 13 w 35"/>
                <a:gd name="T35" fmla="*/ 33 h 35"/>
                <a:gd name="T36" fmla="*/ 34 w 35"/>
                <a:gd name="T37" fmla="*/ 12 h 35"/>
                <a:gd name="T38" fmla="*/ 34 w 35"/>
                <a:gd name="T39" fmla="*/ 12 h 35"/>
                <a:gd name="T40" fmla="*/ 35 w 35"/>
                <a:gd name="T41" fmla="*/ 10 h 35"/>
                <a:gd name="T42" fmla="*/ 35 w 35"/>
                <a:gd name="T43" fmla="*/ 7 h 35"/>
                <a:gd name="T44" fmla="*/ 35 w 35"/>
                <a:gd name="T45" fmla="*/ 5 h 35"/>
                <a:gd name="T46" fmla="*/ 34 w 35"/>
                <a:gd name="T47" fmla="*/ 2 h 35"/>
                <a:gd name="T48" fmla="*/ 34 w 35"/>
                <a:gd name="T49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" h="35">
                  <a:moveTo>
                    <a:pt x="34" y="2"/>
                  </a:moveTo>
                  <a:lnTo>
                    <a:pt x="34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5" y="0"/>
                  </a:lnTo>
                  <a:lnTo>
                    <a:pt x="23" y="2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4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11" y="35"/>
                  </a:lnTo>
                  <a:lnTo>
                    <a:pt x="13" y="33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5" y="10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4" y="2"/>
                  </a:lnTo>
                  <a:lnTo>
                    <a:pt x="34" y="2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8" name="Freeform 170">
              <a:extLst>
                <a:ext uri="{FF2B5EF4-FFF2-40B4-BE49-F238E27FC236}">
                  <a16:creationId xmlns:a16="http://schemas.microsoft.com/office/drawing/2014/main" id="{1930D321-B9AF-479C-B38D-1D602FA22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522" y="5551721"/>
              <a:ext cx="69850" cy="22225"/>
            </a:xfrm>
            <a:custGeom>
              <a:avLst/>
              <a:gdLst>
                <a:gd name="T0" fmla="*/ 37 w 44"/>
                <a:gd name="T1" fmla="*/ 0 h 14"/>
                <a:gd name="T2" fmla="*/ 7 w 44"/>
                <a:gd name="T3" fmla="*/ 0 h 14"/>
                <a:gd name="T4" fmla="*/ 7 w 44"/>
                <a:gd name="T5" fmla="*/ 0 h 14"/>
                <a:gd name="T6" fmla="*/ 4 w 44"/>
                <a:gd name="T7" fmla="*/ 0 h 14"/>
                <a:gd name="T8" fmla="*/ 2 w 44"/>
                <a:gd name="T9" fmla="*/ 1 h 14"/>
                <a:gd name="T10" fmla="*/ 0 w 44"/>
                <a:gd name="T11" fmla="*/ 3 h 14"/>
                <a:gd name="T12" fmla="*/ 0 w 44"/>
                <a:gd name="T13" fmla="*/ 7 h 14"/>
                <a:gd name="T14" fmla="*/ 0 w 44"/>
                <a:gd name="T15" fmla="*/ 7 h 14"/>
                <a:gd name="T16" fmla="*/ 0 w 44"/>
                <a:gd name="T17" fmla="*/ 10 h 14"/>
                <a:gd name="T18" fmla="*/ 2 w 44"/>
                <a:gd name="T19" fmla="*/ 12 h 14"/>
                <a:gd name="T20" fmla="*/ 4 w 44"/>
                <a:gd name="T21" fmla="*/ 14 h 14"/>
                <a:gd name="T22" fmla="*/ 7 w 44"/>
                <a:gd name="T23" fmla="*/ 14 h 14"/>
                <a:gd name="T24" fmla="*/ 37 w 44"/>
                <a:gd name="T25" fmla="*/ 14 h 14"/>
                <a:gd name="T26" fmla="*/ 37 w 44"/>
                <a:gd name="T27" fmla="*/ 14 h 14"/>
                <a:gd name="T28" fmla="*/ 39 w 44"/>
                <a:gd name="T29" fmla="*/ 14 h 14"/>
                <a:gd name="T30" fmla="*/ 41 w 44"/>
                <a:gd name="T31" fmla="*/ 12 h 14"/>
                <a:gd name="T32" fmla="*/ 42 w 44"/>
                <a:gd name="T33" fmla="*/ 10 h 14"/>
                <a:gd name="T34" fmla="*/ 44 w 44"/>
                <a:gd name="T35" fmla="*/ 7 h 14"/>
                <a:gd name="T36" fmla="*/ 44 w 44"/>
                <a:gd name="T37" fmla="*/ 7 h 14"/>
                <a:gd name="T38" fmla="*/ 42 w 44"/>
                <a:gd name="T39" fmla="*/ 3 h 14"/>
                <a:gd name="T40" fmla="*/ 41 w 44"/>
                <a:gd name="T41" fmla="*/ 1 h 14"/>
                <a:gd name="T42" fmla="*/ 39 w 44"/>
                <a:gd name="T43" fmla="*/ 0 h 14"/>
                <a:gd name="T44" fmla="*/ 37 w 44"/>
                <a:gd name="T45" fmla="*/ 0 h 14"/>
                <a:gd name="T46" fmla="*/ 37 w 44"/>
                <a:gd name="T4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14">
                  <a:moveTo>
                    <a:pt x="3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9" y="14"/>
                  </a:lnTo>
                  <a:lnTo>
                    <a:pt x="41" y="12"/>
                  </a:lnTo>
                  <a:lnTo>
                    <a:pt x="42" y="10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2" y="3"/>
                  </a:lnTo>
                  <a:lnTo>
                    <a:pt x="41" y="1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grpSp>
          <p:nvGrpSpPr>
            <p:cNvPr id="9" name="Group 65">
              <a:extLst>
                <a:ext uri="{FF2B5EF4-FFF2-40B4-BE49-F238E27FC236}">
                  <a16:creationId xmlns:a16="http://schemas.microsoft.com/office/drawing/2014/main" id="{6B972CBD-3EFA-4C09-BFA9-1EF41A4F005B}"/>
                </a:ext>
              </a:extLst>
            </p:cNvPr>
            <p:cNvGrpSpPr/>
            <p:nvPr/>
          </p:nvGrpSpPr>
          <p:grpSpPr>
            <a:xfrm>
              <a:off x="432127" y="5519135"/>
              <a:ext cx="243823" cy="267043"/>
              <a:chOff x="-1358901" y="4653498"/>
              <a:chExt cx="400051" cy="438150"/>
            </a:xfrm>
            <a:grpFill/>
          </p:grpSpPr>
          <p:sp>
            <p:nvSpPr>
              <p:cNvPr id="10" name="Freeform 306">
                <a:extLst>
                  <a:ext uri="{FF2B5EF4-FFF2-40B4-BE49-F238E27FC236}">
                    <a16:creationId xmlns:a16="http://schemas.microsoft.com/office/drawing/2014/main" id="{A05AAB9F-45D8-4EDA-8C45-4296663DA8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150938" y="4653498"/>
                <a:ext cx="192088" cy="438150"/>
              </a:xfrm>
              <a:custGeom>
                <a:avLst/>
                <a:gdLst>
                  <a:gd name="T0" fmla="*/ 306 w 714"/>
                  <a:gd name="T1" fmla="*/ 288 h 1632"/>
                  <a:gd name="T2" fmla="*/ 384 w 714"/>
                  <a:gd name="T3" fmla="*/ 240 h 1632"/>
                  <a:gd name="T4" fmla="*/ 339 w 714"/>
                  <a:gd name="T5" fmla="*/ 71 h 1632"/>
                  <a:gd name="T6" fmla="*/ 127 w 714"/>
                  <a:gd name="T7" fmla="*/ 0 h 1632"/>
                  <a:gd name="T8" fmla="*/ 2 w 714"/>
                  <a:gd name="T9" fmla="*/ 12 h 1632"/>
                  <a:gd name="T10" fmla="*/ 2 w 714"/>
                  <a:gd name="T11" fmla="*/ 1536 h 1632"/>
                  <a:gd name="T12" fmla="*/ 0 w 714"/>
                  <a:gd name="T13" fmla="*/ 1541 h 1632"/>
                  <a:gd name="T14" fmla="*/ 0 w 714"/>
                  <a:gd name="T15" fmla="*/ 1542 h 1632"/>
                  <a:gd name="T16" fmla="*/ 129 w 714"/>
                  <a:gd name="T17" fmla="*/ 1632 h 1632"/>
                  <a:gd name="T18" fmla="*/ 359 w 714"/>
                  <a:gd name="T19" fmla="*/ 1536 h 1632"/>
                  <a:gd name="T20" fmla="*/ 162 w 714"/>
                  <a:gd name="T21" fmla="*/ 1348 h 1632"/>
                  <a:gd name="T22" fmla="*/ 213 w 714"/>
                  <a:gd name="T23" fmla="*/ 1343 h 1632"/>
                  <a:gd name="T24" fmla="*/ 406 w 714"/>
                  <a:gd name="T25" fmla="*/ 1503 h 1632"/>
                  <a:gd name="T26" fmla="*/ 645 w 714"/>
                  <a:gd name="T27" fmla="*/ 1240 h 1632"/>
                  <a:gd name="T28" fmla="*/ 536 w 714"/>
                  <a:gd name="T29" fmla="*/ 1108 h 1632"/>
                  <a:gd name="T30" fmla="*/ 483 w 714"/>
                  <a:gd name="T31" fmla="*/ 1084 h 1632"/>
                  <a:gd name="T32" fmla="*/ 487 w 714"/>
                  <a:gd name="T33" fmla="*/ 1082 h 1632"/>
                  <a:gd name="T34" fmla="*/ 256 w 714"/>
                  <a:gd name="T35" fmla="*/ 1038 h 1632"/>
                  <a:gd name="T36" fmla="*/ 212 w 714"/>
                  <a:gd name="T37" fmla="*/ 1091 h 1632"/>
                  <a:gd name="T38" fmla="*/ 163 w 714"/>
                  <a:gd name="T39" fmla="*/ 1078 h 1632"/>
                  <a:gd name="T40" fmla="*/ 236 w 714"/>
                  <a:gd name="T41" fmla="*/ 991 h 1632"/>
                  <a:gd name="T42" fmla="*/ 548 w 714"/>
                  <a:gd name="T43" fmla="*/ 1056 h 1632"/>
                  <a:gd name="T44" fmla="*/ 658 w 714"/>
                  <a:gd name="T45" fmla="*/ 931 h 1632"/>
                  <a:gd name="T46" fmla="*/ 514 w 714"/>
                  <a:gd name="T47" fmla="*/ 409 h 1632"/>
                  <a:gd name="T48" fmla="*/ 306 w 714"/>
                  <a:gd name="T49" fmla="*/ 288 h 1632"/>
                  <a:gd name="T50" fmla="*/ 353 w 714"/>
                  <a:gd name="T51" fmla="*/ 708 h 1632"/>
                  <a:gd name="T52" fmla="*/ 162 w 714"/>
                  <a:gd name="T53" fmla="*/ 419 h 1632"/>
                  <a:gd name="T54" fmla="*/ 213 w 714"/>
                  <a:gd name="T55" fmla="*/ 425 h 1632"/>
                  <a:gd name="T56" fmla="*/ 382 w 714"/>
                  <a:gd name="T57" fmla="*/ 665 h 1632"/>
                  <a:gd name="T58" fmla="*/ 353 w 714"/>
                  <a:gd name="T59" fmla="*/ 708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4" h="1632">
                    <a:moveTo>
                      <a:pt x="306" y="288"/>
                    </a:moveTo>
                    <a:cubicBezTo>
                      <a:pt x="310" y="257"/>
                      <a:pt x="347" y="245"/>
                      <a:pt x="384" y="240"/>
                    </a:cubicBezTo>
                    <a:cubicBezTo>
                      <a:pt x="389" y="167"/>
                      <a:pt x="374" y="110"/>
                      <a:pt x="339" y="71"/>
                    </a:cubicBezTo>
                    <a:cubicBezTo>
                      <a:pt x="287" y="12"/>
                      <a:pt x="195" y="0"/>
                      <a:pt x="127" y="0"/>
                    </a:cubicBezTo>
                    <a:cubicBezTo>
                      <a:pt x="76" y="0"/>
                      <a:pt x="30" y="6"/>
                      <a:pt x="2" y="12"/>
                    </a:cubicBezTo>
                    <a:lnTo>
                      <a:pt x="2" y="1536"/>
                    </a:lnTo>
                    <a:lnTo>
                      <a:pt x="0" y="1541"/>
                    </a:lnTo>
                    <a:cubicBezTo>
                      <a:pt x="0" y="1541"/>
                      <a:pt x="0" y="1541"/>
                      <a:pt x="0" y="1542"/>
                    </a:cubicBezTo>
                    <a:cubicBezTo>
                      <a:pt x="28" y="1602"/>
                      <a:pt x="70" y="1632"/>
                      <a:pt x="129" y="1632"/>
                    </a:cubicBezTo>
                    <a:cubicBezTo>
                      <a:pt x="214" y="1632"/>
                      <a:pt x="311" y="1571"/>
                      <a:pt x="359" y="1536"/>
                    </a:cubicBezTo>
                    <a:cubicBezTo>
                      <a:pt x="294" y="1502"/>
                      <a:pt x="169" y="1427"/>
                      <a:pt x="162" y="1348"/>
                    </a:cubicBezTo>
                    <a:lnTo>
                      <a:pt x="213" y="1343"/>
                    </a:lnTo>
                    <a:cubicBezTo>
                      <a:pt x="218" y="1395"/>
                      <a:pt x="329" y="1466"/>
                      <a:pt x="406" y="1503"/>
                    </a:cubicBezTo>
                    <a:cubicBezTo>
                      <a:pt x="566" y="1408"/>
                      <a:pt x="649" y="1318"/>
                      <a:pt x="645" y="1240"/>
                    </a:cubicBezTo>
                    <a:cubicBezTo>
                      <a:pt x="641" y="1157"/>
                      <a:pt x="537" y="1108"/>
                      <a:pt x="536" y="1108"/>
                    </a:cubicBezTo>
                    <a:lnTo>
                      <a:pt x="483" y="1084"/>
                    </a:lnTo>
                    <a:lnTo>
                      <a:pt x="487" y="1082"/>
                    </a:lnTo>
                    <a:cubicBezTo>
                      <a:pt x="419" y="1051"/>
                      <a:pt x="315" y="1014"/>
                      <a:pt x="256" y="1038"/>
                    </a:cubicBezTo>
                    <a:cubicBezTo>
                      <a:pt x="234" y="1048"/>
                      <a:pt x="220" y="1065"/>
                      <a:pt x="212" y="1091"/>
                    </a:cubicBezTo>
                    <a:lnTo>
                      <a:pt x="163" y="1078"/>
                    </a:lnTo>
                    <a:cubicBezTo>
                      <a:pt x="174" y="1036"/>
                      <a:pt x="199" y="1006"/>
                      <a:pt x="236" y="991"/>
                    </a:cubicBezTo>
                    <a:cubicBezTo>
                      <a:pt x="337" y="950"/>
                      <a:pt x="502" y="1031"/>
                      <a:pt x="548" y="1056"/>
                    </a:cubicBezTo>
                    <a:cubicBezTo>
                      <a:pt x="604" y="1028"/>
                      <a:pt x="641" y="988"/>
                      <a:pt x="658" y="931"/>
                    </a:cubicBezTo>
                    <a:cubicBezTo>
                      <a:pt x="714" y="746"/>
                      <a:pt x="545" y="460"/>
                      <a:pt x="514" y="409"/>
                    </a:cubicBezTo>
                    <a:cubicBezTo>
                      <a:pt x="336" y="354"/>
                      <a:pt x="302" y="322"/>
                      <a:pt x="306" y="288"/>
                    </a:cubicBezTo>
                    <a:close/>
                    <a:moveTo>
                      <a:pt x="353" y="708"/>
                    </a:moveTo>
                    <a:cubicBezTo>
                      <a:pt x="344" y="702"/>
                      <a:pt x="144" y="563"/>
                      <a:pt x="162" y="419"/>
                    </a:cubicBezTo>
                    <a:lnTo>
                      <a:pt x="213" y="425"/>
                    </a:lnTo>
                    <a:cubicBezTo>
                      <a:pt x="201" y="519"/>
                      <a:pt x="331" y="630"/>
                      <a:pt x="382" y="665"/>
                    </a:cubicBezTo>
                    <a:lnTo>
                      <a:pt x="353" y="708"/>
                    </a:lnTo>
                    <a:close/>
                  </a:path>
                </a:pathLst>
              </a:custGeom>
              <a:grpFill/>
              <a:ln w="0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1" name="Freeform 307">
                <a:extLst>
                  <a:ext uri="{FF2B5EF4-FFF2-40B4-BE49-F238E27FC236}">
                    <a16:creationId xmlns:a16="http://schemas.microsoft.com/office/drawing/2014/main" id="{D7A607EC-8331-4374-9C9F-FB6FE7CF86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358901" y="4653498"/>
                <a:ext cx="192088" cy="438150"/>
              </a:xfrm>
              <a:custGeom>
                <a:avLst/>
                <a:gdLst>
                  <a:gd name="T0" fmla="*/ 712 w 714"/>
                  <a:gd name="T1" fmla="*/ 1536 h 1632"/>
                  <a:gd name="T2" fmla="*/ 712 w 714"/>
                  <a:gd name="T3" fmla="*/ 12 h 1632"/>
                  <a:gd name="T4" fmla="*/ 587 w 714"/>
                  <a:gd name="T5" fmla="*/ 0 h 1632"/>
                  <a:gd name="T6" fmla="*/ 375 w 714"/>
                  <a:gd name="T7" fmla="*/ 71 h 1632"/>
                  <a:gd name="T8" fmla="*/ 330 w 714"/>
                  <a:gd name="T9" fmla="*/ 240 h 1632"/>
                  <a:gd name="T10" fmla="*/ 408 w 714"/>
                  <a:gd name="T11" fmla="*/ 288 h 1632"/>
                  <a:gd name="T12" fmla="*/ 201 w 714"/>
                  <a:gd name="T13" fmla="*/ 409 h 1632"/>
                  <a:gd name="T14" fmla="*/ 56 w 714"/>
                  <a:gd name="T15" fmla="*/ 931 h 1632"/>
                  <a:gd name="T16" fmla="*/ 167 w 714"/>
                  <a:gd name="T17" fmla="*/ 1056 h 1632"/>
                  <a:gd name="T18" fmla="*/ 478 w 714"/>
                  <a:gd name="T19" fmla="*/ 991 h 1632"/>
                  <a:gd name="T20" fmla="*/ 551 w 714"/>
                  <a:gd name="T21" fmla="*/ 1078 h 1632"/>
                  <a:gd name="T22" fmla="*/ 502 w 714"/>
                  <a:gd name="T23" fmla="*/ 1091 h 1632"/>
                  <a:gd name="T24" fmla="*/ 459 w 714"/>
                  <a:gd name="T25" fmla="*/ 1038 h 1632"/>
                  <a:gd name="T26" fmla="*/ 228 w 714"/>
                  <a:gd name="T27" fmla="*/ 1082 h 1632"/>
                  <a:gd name="T28" fmla="*/ 231 w 714"/>
                  <a:gd name="T29" fmla="*/ 1084 h 1632"/>
                  <a:gd name="T30" fmla="*/ 178 w 714"/>
                  <a:gd name="T31" fmla="*/ 1108 h 1632"/>
                  <a:gd name="T32" fmla="*/ 69 w 714"/>
                  <a:gd name="T33" fmla="*/ 1240 h 1632"/>
                  <a:gd name="T34" fmla="*/ 311 w 714"/>
                  <a:gd name="T35" fmla="*/ 1505 h 1632"/>
                  <a:gd name="T36" fmla="*/ 509 w 714"/>
                  <a:gd name="T37" fmla="*/ 1343 h 1632"/>
                  <a:gd name="T38" fmla="*/ 560 w 714"/>
                  <a:gd name="T39" fmla="*/ 1348 h 1632"/>
                  <a:gd name="T40" fmla="*/ 358 w 714"/>
                  <a:gd name="T41" fmla="*/ 1539 h 1632"/>
                  <a:gd name="T42" fmla="*/ 585 w 714"/>
                  <a:gd name="T43" fmla="*/ 1632 h 1632"/>
                  <a:gd name="T44" fmla="*/ 714 w 714"/>
                  <a:gd name="T45" fmla="*/ 1542 h 1632"/>
                  <a:gd name="T46" fmla="*/ 714 w 714"/>
                  <a:gd name="T47" fmla="*/ 1541 h 1632"/>
                  <a:gd name="T48" fmla="*/ 712 w 714"/>
                  <a:gd name="T49" fmla="*/ 1536 h 1632"/>
                  <a:gd name="T50" fmla="*/ 362 w 714"/>
                  <a:gd name="T51" fmla="*/ 708 h 1632"/>
                  <a:gd name="T52" fmla="*/ 333 w 714"/>
                  <a:gd name="T53" fmla="*/ 665 h 1632"/>
                  <a:gd name="T54" fmla="*/ 501 w 714"/>
                  <a:gd name="T55" fmla="*/ 425 h 1632"/>
                  <a:gd name="T56" fmla="*/ 552 w 714"/>
                  <a:gd name="T57" fmla="*/ 419 h 1632"/>
                  <a:gd name="T58" fmla="*/ 362 w 714"/>
                  <a:gd name="T59" fmla="*/ 708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4" h="1632">
                    <a:moveTo>
                      <a:pt x="712" y="1536"/>
                    </a:moveTo>
                    <a:lnTo>
                      <a:pt x="712" y="12"/>
                    </a:lnTo>
                    <a:cubicBezTo>
                      <a:pt x="684" y="6"/>
                      <a:pt x="638" y="0"/>
                      <a:pt x="587" y="0"/>
                    </a:cubicBezTo>
                    <a:cubicBezTo>
                      <a:pt x="519" y="0"/>
                      <a:pt x="427" y="12"/>
                      <a:pt x="375" y="71"/>
                    </a:cubicBezTo>
                    <a:cubicBezTo>
                      <a:pt x="340" y="110"/>
                      <a:pt x="325" y="167"/>
                      <a:pt x="330" y="240"/>
                    </a:cubicBezTo>
                    <a:cubicBezTo>
                      <a:pt x="367" y="245"/>
                      <a:pt x="405" y="257"/>
                      <a:pt x="408" y="288"/>
                    </a:cubicBezTo>
                    <a:cubicBezTo>
                      <a:pt x="412" y="322"/>
                      <a:pt x="379" y="354"/>
                      <a:pt x="201" y="409"/>
                    </a:cubicBezTo>
                    <a:cubicBezTo>
                      <a:pt x="169" y="460"/>
                      <a:pt x="0" y="746"/>
                      <a:pt x="56" y="931"/>
                    </a:cubicBezTo>
                    <a:cubicBezTo>
                      <a:pt x="74" y="988"/>
                      <a:pt x="110" y="1028"/>
                      <a:pt x="167" y="1056"/>
                    </a:cubicBezTo>
                    <a:cubicBezTo>
                      <a:pt x="213" y="1031"/>
                      <a:pt x="378" y="950"/>
                      <a:pt x="478" y="991"/>
                    </a:cubicBezTo>
                    <a:cubicBezTo>
                      <a:pt x="515" y="1006"/>
                      <a:pt x="540" y="1036"/>
                      <a:pt x="551" y="1078"/>
                    </a:cubicBezTo>
                    <a:lnTo>
                      <a:pt x="502" y="1091"/>
                    </a:lnTo>
                    <a:cubicBezTo>
                      <a:pt x="495" y="1065"/>
                      <a:pt x="480" y="1048"/>
                      <a:pt x="459" y="1038"/>
                    </a:cubicBezTo>
                    <a:cubicBezTo>
                      <a:pt x="399" y="1014"/>
                      <a:pt x="295" y="1051"/>
                      <a:pt x="228" y="1082"/>
                    </a:cubicBezTo>
                    <a:lnTo>
                      <a:pt x="231" y="1084"/>
                    </a:lnTo>
                    <a:lnTo>
                      <a:pt x="178" y="1108"/>
                    </a:lnTo>
                    <a:cubicBezTo>
                      <a:pt x="177" y="1108"/>
                      <a:pt x="73" y="1157"/>
                      <a:pt x="69" y="1240"/>
                    </a:cubicBezTo>
                    <a:cubicBezTo>
                      <a:pt x="65" y="1318"/>
                      <a:pt x="149" y="1410"/>
                      <a:pt x="311" y="1505"/>
                    </a:cubicBezTo>
                    <a:cubicBezTo>
                      <a:pt x="388" y="1468"/>
                      <a:pt x="504" y="1396"/>
                      <a:pt x="509" y="1343"/>
                    </a:cubicBezTo>
                    <a:lnTo>
                      <a:pt x="560" y="1348"/>
                    </a:lnTo>
                    <a:cubicBezTo>
                      <a:pt x="553" y="1429"/>
                      <a:pt x="422" y="1505"/>
                      <a:pt x="358" y="1539"/>
                    </a:cubicBezTo>
                    <a:cubicBezTo>
                      <a:pt x="408" y="1574"/>
                      <a:pt x="502" y="1632"/>
                      <a:pt x="585" y="1632"/>
                    </a:cubicBezTo>
                    <a:cubicBezTo>
                      <a:pt x="644" y="1632"/>
                      <a:pt x="686" y="1602"/>
                      <a:pt x="714" y="1542"/>
                    </a:cubicBezTo>
                    <a:cubicBezTo>
                      <a:pt x="714" y="1541"/>
                      <a:pt x="714" y="1541"/>
                      <a:pt x="714" y="1541"/>
                    </a:cubicBezTo>
                    <a:lnTo>
                      <a:pt x="712" y="1536"/>
                    </a:lnTo>
                    <a:close/>
                    <a:moveTo>
                      <a:pt x="362" y="708"/>
                    </a:moveTo>
                    <a:lnTo>
                      <a:pt x="333" y="665"/>
                    </a:lnTo>
                    <a:cubicBezTo>
                      <a:pt x="384" y="630"/>
                      <a:pt x="513" y="519"/>
                      <a:pt x="501" y="425"/>
                    </a:cubicBezTo>
                    <a:lnTo>
                      <a:pt x="552" y="419"/>
                    </a:lnTo>
                    <a:cubicBezTo>
                      <a:pt x="571" y="563"/>
                      <a:pt x="370" y="702"/>
                      <a:pt x="362" y="708"/>
                    </a:cubicBezTo>
                    <a:close/>
                  </a:path>
                </a:pathLst>
              </a:custGeom>
              <a:grpFill/>
              <a:ln w="0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</a:endParaRPr>
              </a:p>
            </p:txBody>
          </p:sp>
        </p:grpSp>
      </p:grpSp>
      <p:sp>
        <p:nvSpPr>
          <p:cNvPr id="13" name="Titel 1">
            <a:extLst>
              <a:ext uri="{FF2B5EF4-FFF2-40B4-BE49-F238E27FC236}">
                <a16:creationId xmlns:a16="http://schemas.microsoft.com/office/drawing/2014/main" id="{0ECDDA2D-E87F-4A69-897E-2930B4B65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680" y="3319401"/>
            <a:ext cx="7020120" cy="332399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87034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FA26E2-6AC9-4BFE-82F3-5B37293BE51B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4.02.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647E8F-5052-4581-98D0-7C32D5A45346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00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EC3DBA1C-553F-47F9-8206-18BF8A76B5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D76EF870-C0D1-4E65-ACDA-AC0C4DCD67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00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48E6316B-2069-4750-BF15-CC3D33F8A2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00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3" name="Textplatzhalter 72">
            <a:extLst>
              <a:ext uri="{FF2B5EF4-FFF2-40B4-BE49-F238E27FC236}">
                <a16:creationId xmlns:a16="http://schemas.microsoft.com/office/drawing/2014/main" id="{E9AA332B-9DF1-4240-9A4C-9FDC17CE14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59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2" name="Textplatzhalter 71">
            <a:extLst>
              <a:ext uri="{FF2B5EF4-FFF2-40B4-BE49-F238E27FC236}">
                <a16:creationId xmlns:a16="http://schemas.microsoft.com/office/drawing/2014/main" id="{E172CBCD-D32E-4101-91DA-372D4E6741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259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3" name="Textplatzhalter 62">
            <a:extLst>
              <a:ext uri="{FF2B5EF4-FFF2-40B4-BE49-F238E27FC236}">
                <a16:creationId xmlns:a16="http://schemas.microsoft.com/office/drawing/2014/main" id="{EE8D2679-F21D-4AEE-BACE-016F73C14CB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259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C5F561E1-F8AF-40EB-A833-95BC6D6C8F3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259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076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91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076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91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076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91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076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91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092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64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092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64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092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64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092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64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75" name="Inhaltsplatzhalter 9">
            <a:extLst>
              <a:ext uri="{FF2B5EF4-FFF2-40B4-BE49-F238E27FC236}">
                <a16:creationId xmlns:a16="http://schemas.microsoft.com/office/drawing/2014/main" id="{F0946075-0AC7-48A3-8D0F-123C98FFD6E5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1546285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6" name="Inhaltsplatzhalter 9">
            <a:extLst>
              <a:ext uri="{FF2B5EF4-FFF2-40B4-BE49-F238E27FC236}">
                <a16:creationId xmlns:a16="http://schemas.microsoft.com/office/drawing/2014/main" id="{B58AB14C-CDD4-4AAB-904A-52D84FAE9367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7470904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46285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8" name="Inhaltsplatzhalter 9">
            <a:extLst>
              <a:ext uri="{FF2B5EF4-FFF2-40B4-BE49-F238E27FC236}">
                <a16:creationId xmlns:a16="http://schemas.microsoft.com/office/drawing/2014/main" id="{321D1B94-2D21-41E1-A777-3DC603FBD847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7470904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9" name="Inhaltsplatzhalter 9">
            <a:extLst>
              <a:ext uri="{FF2B5EF4-FFF2-40B4-BE49-F238E27FC236}">
                <a16:creationId xmlns:a16="http://schemas.microsoft.com/office/drawing/2014/main" id="{C7600883-7FF9-4E2D-AD32-649383774589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1546285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0" name="Inhaltsplatzhalter 9">
            <a:extLst>
              <a:ext uri="{FF2B5EF4-FFF2-40B4-BE49-F238E27FC236}">
                <a16:creationId xmlns:a16="http://schemas.microsoft.com/office/drawing/2014/main" id="{C15AA9A2-7395-47A8-A1A0-37D3FEFF7A48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7470904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1" name="Inhaltsplatzhalter 9">
            <a:extLst>
              <a:ext uri="{FF2B5EF4-FFF2-40B4-BE49-F238E27FC236}">
                <a16:creationId xmlns:a16="http://schemas.microsoft.com/office/drawing/2014/main" id="{AE55F5E1-5331-469D-88FF-C70B9DE6E480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1546285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2" name="Inhaltsplatzhalter 9">
            <a:extLst>
              <a:ext uri="{FF2B5EF4-FFF2-40B4-BE49-F238E27FC236}">
                <a16:creationId xmlns:a16="http://schemas.microsoft.com/office/drawing/2014/main" id="{99528CFB-C5EA-4EC6-8C5D-7EA239BE48D9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7470904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4" name="Fußzeilenplatzhalter 3">
            <a:extLst>
              <a:ext uri="{FF2B5EF4-FFF2-40B4-BE49-F238E27FC236}">
                <a16:creationId xmlns:a16="http://schemas.microsoft.com/office/drawing/2014/main" id="{FD2B0766-60EA-44DA-B183-D7D8F06811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66986" y="6584720"/>
            <a:ext cx="9058033" cy="13960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484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_a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8227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/>
              <a:t>Titelfolie 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A6A1785-717B-4105-AEF1-3558EA09322A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B10034"/>
              </a:solidFill>
            </a:endParaRPr>
          </a:p>
        </p:txBody>
      </p: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9F27BDD9-D063-403B-A5F1-57C38EF89F35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platzhalter 38">
            <a:extLst>
              <a:ext uri="{FF2B5EF4-FFF2-40B4-BE49-F238E27FC236}">
                <a16:creationId xmlns:a16="http://schemas.microsoft.com/office/drawing/2014/main" id="{8772F2C6-6216-40E2-961F-FE177F24D2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Untertitel 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34803B6-1E5B-CE4E-A696-6675417BFBE3}"/>
              </a:ext>
            </a:extLst>
          </p:cNvPr>
          <p:cNvSpPr txBox="1"/>
          <p:nvPr userDrawn="1"/>
        </p:nvSpPr>
        <p:spPr>
          <a:xfrm>
            <a:off x="4533901" y="2879765"/>
            <a:ext cx="7086599" cy="24324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sz="1200" b="1" dirty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Project ABBA 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de-DE" sz="1200" b="0" dirty="0">
              <a:solidFill>
                <a:srgbClr val="4B4B4B"/>
              </a:solidFill>
            </a:endParaRP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Hohenheim, Stuttgart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Karlsruher Institute </a:t>
            </a:r>
            <a:r>
              <a:rPr lang="de-DE" sz="1200" b="0" dirty="0" err="1">
                <a:solidFill>
                  <a:srgbClr val="4B4B4B"/>
                </a:solidFill>
              </a:rPr>
              <a:t>for</a:t>
            </a:r>
            <a:r>
              <a:rPr lang="de-DE" sz="1200" b="0" dirty="0">
                <a:solidFill>
                  <a:srgbClr val="4B4B4B"/>
                </a:solidFill>
              </a:rPr>
              <a:t> Technology, Karlsruhe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Bayreuth, Bayreuth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Frankfurt 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Applied Science, Frankfur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dirty="0">
              <a:solidFill>
                <a:schemeClr val="accent3">
                  <a:lumMod val="75000"/>
                </a:schemeClr>
              </a:solidFill>
            </a:endParaRPr>
          </a:p>
          <a:p>
            <a:pPr marL="0" indent="0" algn="l">
              <a:buNone/>
            </a:pPr>
            <a:endParaRPr lang="de-DE" sz="12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86EA6AB-BE30-4118-A30A-9B995917C5BF}"/>
              </a:ext>
            </a:extLst>
          </p:cNvPr>
          <p:cNvSpPr txBox="1"/>
          <p:nvPr userDrawn="1"/>
        </p:nvSpPr>
        <p:spPr>
          <a:xfrm>
            <a:off x="4548554" y="543705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sz="1200">
                <a:solidFill>
                  <a:schemeClr val="tx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</a:t>
            </a:r>
            <a:endParaRPr lang="de-DE" sz="1200">
              <a:solidFill>
                <a:schemeClr val="tx2"/>
              </a:solidFill>
            </a:endParaRPr>
          </a:p>
          <a:p>
            <a:pPr lvl="0"/>
            <a:r>
              <a:rPr lang="de-DE" sz="120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</a:t>
            </a:r>
            <a:endParaRPr lang="de-DE" sz="1200">
              <a:solidFill>
                <a:schemeClr val="tx2"/>
              </a:solidFill>
            </a:endParaRPr>
          </a:p>
          <a:p>
            <a:pPr marL="0" indent="0" algn="l">
              <a:buFont typeface="Wingdings" panose="05000000000000000000" pitchFamily="2" charset="2"/>
              <a:buNone/>
            </a:pPr>
            <a:endParaRPr lang="de-DE" sz="1400">
              <a:solidFill>
                <a:schemeClr val="tx2"/>
              </a:solidFill>
            </a:endParaRPr>
          </a:p>
        </p:txBody>
      </p:sp>
      <p:pic>
        <p:nvPicPr>
          <p:cNvPr id="21" name="Grafik 20" descr="Ein Bild, das Text, Schiefertafel enthält.&#10;&#10;Automatisch generierte Beschreibung">
            <a:extLst>
              <a:ext uri="{FF2B5EF4-FFF2-40B4-BE49-F238E27FC236}">
                <a16:creationId xmlns:a16="http://schemas.microsoft.com/office/drawing/2014/main" id="{D8810B87-4736-4543-A920-15DE7283C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618"/>
          <a:stretch/>
        </p:blipFill>
        <p:spPr>
          <a:xfrm>
            <a:off x="0" y="0"/>
            <a:ext cx="4310708" cy="6858000"/>
          </a:xfrm>
          <a:prstGeom prst="rect">
            <a:avLst/>
          </a:prstGeom>
        </p:spPr>
      </p:pic>
      <p:pic>
        <p:nvPicPr>
          <p:cNvPr id="20" name="Grafik 19" descr="Ein Bild, das Text enthält.&#10;&#10;Automatisch generierte Beschreibung">
            <a:extLst>
              <a:ext uri="{FF2B5EF4-FFF2-40B4-BE49-F238E27FC236}">
                <a16:creationId xmlns:a16="http://schemas.microsoft.com/office/drawing/2014/main" id="{E0FBF777-2D07-4643-A14C-B34B1D1098C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458" y="495728"/>
            <a:ext cx="2305574" cy="461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8175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 mit Zeitbezug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5C4E7A-D4D9-4E2F-9C54-CF93C4789B1B}" type="datetime1">
              <a:rPr lang="de-DE" smtClean="0"/>
              <a:t>14.02.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09A5E2-DD82-496C-9C5E-8489E116E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/>
              <a:t>| Vortragende*r 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202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FCEADE-0C88-4CDD-88DC-49AD90358BBC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4.02.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647E8F-5052-4581-98D0-7C32D5A45346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C1BBFD50-AC67-42D2-B069-845E2B3749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00" y="1454622"/>
            <a:ext cx="5203943" cy="920067"/>
          </a:xfrm>
          <a:custGeom>
            <a:avLst/>
            <a:gdLst>
              <a:gd name="connsiteX0" fmla="*/ 805682 w 4228204"/>
              <a:gd name="connsiteY0" fmla="*/ 185520 h 920067"/>
              <a:gd name="connsiteX1" fmla="*/ 805682 w 4228204"/>
              <a:gd name="connsiteY1" fmla="*/ 730596 h 920067"/>
              <a:gd name="connsiteX2" fmla="*/ 827282 w 4228204"/>
              <a:gd name="connsiteY2" fmla="*/ 730596 h 920067"/>
              <a:gd name="connsiteX3" fmla="*/ 827282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5520"/>
                </a:moveTo>
                <a:lnTo>
                  <a:pt x="805682" y="730596"/>
                </a:lnTo>
                <a:lnTo>
                  <a:pt x="827282" y="730596"/>
                </a:lnTo>
                <a:lnTo>
                  <a:pt x="827282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4FF4D1CD-7310-4F47-A531-B081E4A294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2729988"/>
            <a:ext cx="5203943" cy="920067"/>
          </a:xfrm>
          <a:custGeom>
            <a:avLst/>
            <a:gdLst>
              <a:gd name="connsiteX0" fmla="*/ 805682 w 4228204"/>
              <a:gd name="connsiteY0" fmla="*/ 175252 h 920067"/>
              <a:gd name="connsiteX1" fmla="*/ 805682 w 4228204"/>
              <a:gd name="connsiteY1" fmla="*/ 720328 h 920067"/>
              <a:gd name="connsiteX2" fmla="*/ 827282 w 4228204"/>
              <a:gd name="connsiteY2" fmla="*/ 720328 h 920067"/>
              <a:gd name="connsiteX3" fmla="*/ 827282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75252"/>
                </a:moveTo>
                <a:lnTo>
                  <a:pt x="805682" y="720328"/>
                </a:lnTo>
                <a:lnTo>
                  <a:pt x="827282" y="720328"/>
                </a:lnTo>
                <a:lnTo>
                  <a:pt x="827282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6" name="Textplatzhalter 65">
            <a:extLst>
              <a:ext uri="{FF2B5EF4-FFF2-40B4-BE49-F238E27FC236}">
                <a16:creationId xmlns:a16="http://schemas.microsoft.com/office/drawing/2014/main" id="{B7ED82DA-2F7E-4A19-AC70-B35827D3F5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00" y="4005350"/>
            <a:ext cx="5203943" cy="920067"/>
          </a:xfrm>
          <a:custGeom>
            <a:avLst/>
            <a:gdLst>
              <a:gd name="connsiteX0" fmla="*/ 805682 w 4228204"/>
              <a:gd name="connsiteY0" fmla="*/ 189912 h 920067"/>
              <a:gd name="connsiteX1" fmla="*/ 805682 w 4228204"/>
              <a:gd name="connsiteY1" fmla="*/ 734988 h 920067"/>
              <a:gd name="connsiteX2" fmla="*/ 827282 w 4228204"/>
              <a:gd name="connsiteY2" fmla="*/ 734988 h 920067"/>
              <a:gd name="connsiteX3" fmla="*/ 827282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9912"/>
                </a:moveTo>
                <a:lnTo>
                  <a:pt x="805682" y="734988"/>
                </a:lnTo>
                <a:lnTo>
                  <a:pt x="827282" y="734988"/>
                </a:lnTo>
                <a:lnTo>
                  <a:pt x="827282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7" name="Textplatzhalter 66">
            <a:extLst>
              <a:ext uri="{FF2B5EF4-FFF2-40B4-BE49-F238E27FC236}">
                <a16:creationId xmlns:a16="http://schemas.microsoft.com/office/drawing/2014/main" id="{44A13067-6028-4186-8764-01D222AAD4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00" y="5280713"/>
            <a:ext cx="5203943" cy="920067"/>
          </a:xfrm>
          <a:custGeom>
            <a:avLst/>
            <a:gdLst>
              <a:gd name="connsiteX0" fmla="*/ 805682 w 4228204"/>
              <a:gd name="connsiteY0" fmla="*/ 191873 h 920067"/>
              <a:gd name="connsiteX1" fmla="*/ 805682 w 4228204"/>
              <a:gd name="connsiteY1" fmla="*/ 736949 h 920067"/>
              <a:gd name="connsiteX2" fmla="*/ 827282 w 4228204"/>
              <a:gd name="connsiteY2" fmla="*/ 736949 h 920067"/>
              <a:gd name="connsiteX3" fmla="*/ 827282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91873"/>
                </a:moveTo>
                <a:lnTo>
                  <a:pt x="805682" y="736949"/>
                </a:lnTo>
                <a:lnTo>
                  <a:pt x="827282" y="736949"/>
                </a:lnTo>
                <a:lnTo>
                  <a:pt x="827282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1" name="Textplatzhalter 70">
            <a:extLst>
              <a:ext uri="{FF2B5EF4-FFF2-40B4-BE49-F238E27FC236}">
                <a16:creationId xmlns:a16="http://schemas.microsoft.com/office/drawing/2014/main" id="{B4CF5608-10FA-4712-9790-79EFC49699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59" y="1454622"/>
            <a:ext cx="5203943" cy="920067"/>
          </a:xfrm>
          <a:custGeom>
            <a:avLst/>
            <a:gdLst>
              <a:gd name="connsiteX0" fmla="*/ 822545 w 4228204"/>
              <a:gd name="connsiteY0" fmla="*/ 185520 h 920067"/>
              <a:gd name="connsiteX1" fmla="*/ 822545 w 4228204"/>
              <a:gd name="connsiteY1" fmla="*/ 730596 h 920067"/>
              <a:gd name="connsiteX2" fmla="*/ 844145 w 4228204"/>
              <a:gd name="connsiteY2" fmla="*/ 730596 h 920067"/>
              <a:gd name="connsiteX3" fmla="*/ 844145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5520"/>
                </a:moveTo>
                <a:lnTo>
                  <a:pt x="822545" y="730596"/>
                </a:lnTo>
                <a:lnTo>
                  <a:pt x="844145" y="730596"/>
                </a:lnTo>
                <a:lnTo>
                  <a:pt x="844145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0" name="Textplatzhalter 69">
            <a:extLst>
              <a:ext uri="{FF2B5EF4-FFF2-40B4-BE49-F238E27FC236}">
                <a16:creationId xmlns:a16="http://schemas.microsoft.com/office/drawing/2014/main" id="{4E4A1239-75DF-42F8-8141-FF2897042E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259" y="2729988"/>
            <a:ext cx="5203943" cy="920067"/>
          </a:xfrm>
          <a:custGeom>
            <a:avLst/>
            <a:gdLst>
              <a:gd name="connsiteX0" fmla="*/ 822545 w 4228204"/>
              <a:gd name="connsiteY0" fmla="*/ 175252 h 920067"/>
              <a:gd name="connsiteX1" fmla="*/ 822545 w 4228204"/>
              <a:gd name="connsiteY1" fmla="*/ 720328 h 920067"/>
              <a:gd name="connsiteX2" fmla="*/ 844145 w 4228204"/>
              <a:gd name="connsiteY2" fmla="*/ 720328 h 920067"/>
              <a:gd name="connsiteX3" fmla="*/ 844145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75252"/>
                </a:moveTo>
                <a:lnTo>
                  <a:pt x="822545" y="720328"/>
                </a:lnTo>
                <a:lnTo>
                  <a:pt x="844145" y="720328"/>
                </a:lnTo>
                <a:lnTo>
                  <a:pt x="844145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9" name="Textplatzhalter 68">
            <a:extLst>
              <a:ext uri="{FF2B5EF4-FFF2-40B4-BE49-F238E27FC236}">
                <a16:creationId xmlns:a16="http://schemas.microsoft.com/office/drawing/2014/main" id="{D01902BB-CAAC-4D67-9821-70B9CFAE85A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259" y="4005350"/>
            <a:ext cx="5203943" cy="920067"/>
          </a:xfrm>
          <a:custGeom>
            <a:avLst/>
            <a:gdLst>
              <a:gd name="connsiteX0" fmla="*/ 822545 w 4228204"/>
              <a:gd name="connsiteY0" fmla="*/ 189912 h 920067"/>
              <a:gd name="connsiteX1" fmla="*/ 822545 w 4228204"/>
              <a:gd name="connsiteY1" fmla="*/ 734988 h 920067"/>
              <a:gd name="connsiteX2" fmla="*/ 844145 w 4228204"/>
              <a:gd name="connsiteY2" fmla="*/ 734988 h 920067"/>
              <a:gd name="connsiteX3" fmla="*/ 844145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9912"/>
                </a:moveTo>
                <a:lnTo>
                  <a:pt x="822545" y="734988"/>
                </a:lnTo>
                <a:lnTo>
                  <a:pt x="844145" y="734988"/>
                </a:lnTo>
                <a:lnTo>
                  <a:pt x="844145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8" name="Textplatzhalter 67">
            <a:extLst>
              <a:ext uri="{FF2B5EF4-FFF2-40B4-BE49-F238E27FC236}">
                <a16:creationId xmlns:a16="http://schemas.microsoft.com/office/drawing/2014/main" id="{85BBCCD5-2975-4487-8168-030C907357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259" y="5280713"/>
            <a:ext cx="5203943" cy="920067"/>
          </a:xfrm>
          <a:custGeom>
            <a:avLst/>
            <a:gdLst>
              <a:gd name="connsiteX0" fmla="*/ 822545 w 4228204"/>
              <a:gd name="connsiteY0" fmla="*/ 191873 h 920067"/>
              <a:gd name="connsiteX1" fmla="*/ 822545 w 4228204"/>
              <a:gd name="connsiteY1" fmla="*/ 736949 h 920067"/>
              <a:gd name="connsiteX2" fmla="*/ 844145 w 4228204"/>
              <a:gd name="connsiteY2" fmla="*/ 736949 h 920067"/>
              <a:gd name="connsiteX3" fmla="*/ 844145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91873"/>
                </a:moveTo>
                <a:lnTo>
                  <a:pt x="822545" y="736949"/>
                </a:lnTo>
                <a:lnTo>
                  <a:pt x="844145" y="736949"/>
                </a:lnTo>
                <a:lnTo>
                  <a:pt x="844145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076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91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076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91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076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91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076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91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092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64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092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64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092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64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092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64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79050B90-98B6-4F1D-A364-D36A50F68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66986" y="6584720"/>
            <a:ext cx="9058033" cy="13960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73131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 mit Zeitbezug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5100F-DFB2-41BB-884B-63208953B0CF}" type="datetime1">
              <a:rPr lang="de-DE" smtClean="0"/>
              <a:t>14.02.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09A5E2-DD82-496C-9C5E-8489E116E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889194"/>
                </a:solidFill>
              </a:rPr>
              <a:t>ABBA | Vortragende*r 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284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0"/>
            <a:ext cx="12192000" cy="6129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0" y="3498044"/>
            <a:ext cx="8171107" cy="789560"/>
          </a:xfrm>
        </p:spPr>
        <p:txBody>
          <a:bodyPr/>
          <a:lstStyle>
            <a:lvl1pPr>
              <a:defRPr sz="2800">
                <a:solidFill>
                  <a:srgbClr val="4B4B4B"/>
                </a:solidFill>
              </a:defRPr>
            </a:lvl1pPr>
          </a:lstStyle>
          <a:p>
            <a:r>
              <a:rPr lang="de-DE" err="1"/>
              <a:t>Kapiteltrenner</a:t>
            </a:r>
            <a:r>
              <a:rPr lang="de-DE"/>
              <a:t> </a:t>
            </a:r>
            <a:r>
              <a:rPr lang="de-DE" err="1"/>
              <a:t>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29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1934" cy="760412"/>
          </a:xfrm>
        </p:spPr>
        <p:txBody>
          <a:bodyPr/>
          <a:lstStyle>
            <a:lvl1pPr marL="0" indent="0">
              <a:buNone/>
              <a:defRPr>
                <a:solidFill>
                  <a:srgbClr val="4B4B4B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</a:t>
            </a:r>
            <a:br>
              <a:rPr lang="de-DE"/>
            </a:br>
            <a:r>
              <a:rPr lang="de-DE"/>
              <a:t>Zweite Zeile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</a:t>
            </a:r>
            <a:endParaRPr lang="en-US"/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A7AFDF6E-5108-4973-9D2D-67ADFDD4A12D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17" name="Grafik 16" descr="Ein Bild, das Text enthält.&#10;&#10;Automatisch generierte Beschreibung">
            <a:extLst>
              <a:ext uri="{FF2B5EF4-FFF2-40B4-BE49-F238E27FC236}">
                <a16:creationId xmlns:a16="http://schemas.microsoft.com/office/drawing/2014/main" id="{E6779296-889C-43A8-B867-107FEBD68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847" y="6295445"/>
            <a:ext cx="2318327" cy="463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863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-1"/>
            <a:ext cx="12192000" cy="6200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1" y="3498044"/>
            <a:ext cx="8172000" cy="789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Kapiteltrenner</a:t>
            </a:r>
            <a:r>
              <a:rPr lang="de-DE"/>
              <a:t> </a:t>
            </a:r>
            <a:r>
              <a:rPr lang="de-DE" err="1"/>
              <a:t>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36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2000" cy="76041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</a:t>
            </a:r>
            <a:br>
              <a:rPr lang="de-DE"/>
            </a:br>
            <a:r>
              <a:rPr lang="de-DE"/>
              <a:t>Zweite Zeile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</a:t>
            </a:r>
            <a:endParaRPr lang="en-US"/>
          </a:p>
        </p:txBody>
      </p:sp>
      <p:pic>
        <p:nvPicPr>
          <p:cNvPr id="4" name="Grafik 3" descr="Ein Bild, das Text enthält.&#10;&#10;Automatisch generierte Beschreibung">
            <a:extLst>
              <a:ext uri="{FF2B5EF4-FFF2-40B4-BE49-F238E27FC236}">
                <a16:creationId xmlns:a16="http://schemas.microsoft.com/office/drawing/2014/main" id="{60BEB5C5-7930-4FD9-802B-CFC2339A45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847" y="6295445"/>
            <a:ext cx="2318327" cy="463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475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9AA4FD1-AF41-4DD5-937F-459FA9235E3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ECDDA2D-E87F-4A69-897E-2930B4B65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262800"/>
            <a:ext cx="12192000" cy="332399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909607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9AA4FD1-AF41-4DD5-937F-459FA9235E3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4400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ECDDA2D-E87F-4A69-897E-2930B4B658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984500"/>
            <a:ext cx="6111628" cy="1689100"/>
          </a:xfrm>
          <a:prstGeom prst="rect">
            <a:avLst/>
          </a:prstGeom>
          <a:solidFill>
            <a:schemeClr val="tx2"/>
          </a:solidFill>
        </p:spPr>
        <p:txBody>
          <a:bodyPr wrap="square" lIns="144000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760427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75D50384-E3FC-40F9-9015-B304134A640A}"/>
              </a:ext>
            </a:extLst>
          </p:cNvPr>
          <p:cNvSpPr/>
          <p:nvPr userDrawn="1"/>
        </p:nvSpPr>
        <p:spPr>
          <a:xfrm>
            <a:off x="0" y="1236250"/>
            <a:ext cx="12192000" cy="56217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12700" dir="16200000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Titelplatzhalter 9">
            <a:extLst>
              <a:ext uri="{FF2B5EF4-FFF2-40B4-BE49-F238E27FC236}">
                <a16:creationId xmlns:a16="http://schemas.microsoft.com/office/drawing/2014/main" id="{EBF5AABB-91AB-42A6-ACAF-01AFA8D23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407199"/>
            <a:ext cx="8052580" cy="6381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B00A917-7FEE-4539-BEB6-A05D3A39D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00" y="1449393"/>
            <a:ext cx="11088000" cy="47513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en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744D047-DBE7-4837-9765-21AD21D3E1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00" y="6584720"/>
            <a:ext cx="777407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A9C45D68-AA89-436D-A8BC-30FB63CE55A7}" type="datetime1">
              <a:rPr lang="de-DE" smtClean="0"/>
              <a:t>14.02.2024</a:t>
            </a:fld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4AAEA56-5A85-4B03-A52E-6C67C5CF4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de-DE"/>
              <a:t>ABBA | Vortragende*r </a:t>
            </a:r>
            <a:endParaRPr lang="en-US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435A9C5-FF72-442B-99AC-40BB799414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4000" y="6584720"/>
            <a:ext cx="304800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863709E5-1A75-444F-B4BE-2340C4E06744}"/>
              </a:ext>
            </a:extLst>
          </p:cNvPr>
          <p:cNvCxnSpPr/>
          <p:nvPr userDrawn="1"/>
        </p:nvCxnSpPr>
        <p:spPr>
          <a:xfrm flipH="1">
            <a:off x="-467201" y="409181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2C03EDCA-8C9C-4EF3-A61D-BA419E16438B}"/>
              </a:ext>
            </a:extLst>
          </p:cNvPr>
          <p:cNvSpPr txBox="1"/>
          <p:nvPr userDrawn="1"/>
        </p:nvSpPr>
        <p:spPr>
          <a:xfrm>
            <a:off x="-472831" y="445694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FB547E8B-D79C-422A-81DC-5E5DF91B7B52}"/>
              </a:ext>
            </a:extLst>
          </p:cNvPr>
          <p:cNvCxnSpPr/>
          <p:nvPr userDrawn="1"/>
        </p:nvCxnSpPr>
        <p:spPr>
          <a:xfrm flipH="1">
            <a:off x="-467201" y="983775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5F825E4A-066A-42F8-887C-683D950C5AF1}"/>
              </a:ext>
            </a:extLst>
          </p:cNvPr>
          <p:cNvSpPr txBox="1"/>
          <p:nvPr userDrawn="1"/>
        </p:nvSpPr>
        <p:spPr>
          <a:xfrm>
            <a:off x="-472831" y="1020288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8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0AD2466-4DA2-4326-AE10-6602EA720ED2}"/>
              </a:ext>
            </a:extLst>
          </p:cNvPr>
          <p:cNvCxnSpPr/>
          <p:nvPr userDrawn="1"/>
        </p:nvCxnSpPr>
        <p:spPr>
          <a:xfrm flipH="1">
            <a:off x="-467201" y="1236162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C8AE78C6-42DF-4818-AF8A-7528F1898AC3}"/>
              </a:ext>
            </a:extLst>
          </p:cNvPr>
          <p:cNvSpPr txBox="1"/>
          <p:nvPr userDrawn="1"/>
        </p:nvSpPr>
        <p:spPr>
          <a:xfrm>
            <a:off x="-472831" y="1272675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1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81A28321-A51B-4143-A2E7-579B4C54E816}"/>
              </a:ext>
            </a:extLst>
          </p:cNvPr>
          <p:cNvCxnSpPr/>
          <p:nvPr userDrawn="1"/>
        </p:nvCxnSpPr>
        <p:spPr>
          <a:xfrm flipH="1">
            <a:off x="-467201" y="1451084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>
            <a:extLst>
              <a:ext uri="{FF2B5EF4-FFF2-40B4-BE49-F238E27FC236}">
                <a16:creationId xmlns:a16="http://schemas.microsoft.com/office/drawing/2014/main" id="{02EE2369-B400-4488-95B0-A229AF97E1D5}"/>
              </a:ext>
            </a:extLst>
          </p:cNvPr>
          <p:cNvSpPr txBox="1"/>
          <p:nvPr userDrawn="1"/>
        </p:nvSpPr>
        <p:spPr>
          <a:xfrm>
            <a:off x="-472831" y="1487597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,5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223C8355-B0EC-44B3-9155-690CB075862B}"/>
              </a:ext>
            </a:extLst>
          </p:cNvPr>
          <p:cNvCxnSpPr/>
          <p:nvPr userDrawn="1"/>
        </p:nvCxnSpPr>
        <p:spPr>
          <a:xfrm flipH="1">
            <a:off x="-467201" y="620250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>
            <a:extLst>
              <a:ext uri="{FF2B5EF4-FFF2-40B4-BE49-F238E27FC236}">
                <a16:creationId xmlns:a16="http://schemas.microsoft.com/office/drawing/2014/main" id="{468E3FFC-697F-4F9E-B707-E0EBB27D5EEB}"/>
              </a:ext>
            </a:extLst>
          </p:cNvPr>
          <p:cNvSpPr txBox="1"/>
          <p:nvPr userDrawn="1"/>
        </p:nvSpPr>
        <p:spPr>
          <a:xfrm>
            <a:off x="-472831" y="623902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7,7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A5EA9C0-7BE5-4536-A653-A86353CE4396}"/>
              </a:ext>
            </a:extLst>
          </p:cNvPr>
          <p:cNvCxnSpPr/>
          <p:nvPr userDrawn="1"/>
        </p:nvCxnSpPr>
        <p:spPr>
          <a:xfrm flipH="1">
            <a:off x="-467201" y="645456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C584EB1C-8DF8-4788-AE49-C41F66462D0F}"/>
              </a:ext>
            </a:extLst>
          </p:cNvPr>
          <p:cNvSpPr txBox="1"/>
          <p:nvPr userDrawn="1"/>
        </p:nvSpPr>
        <p:spPr>
          <a:xfrm>
            <a:off x="-472831" y="649108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FFB193B5-8CCF-478B-AC02-3C59BA49336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49707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D57D7049-6EED-4A67-8684-DCF98D7C9662}"/>
              </a:ext>
            </a:extLst>
          </p:cNvPr>
          <p:cNvSpPr txBox="1"/>
          <p:nvPr userDrawn="1"/>
        </p:nvSpPr>
        <p:spPr>
          <a:xfrm rot="5400000">
            <a:off x="293079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B7540CE6-88DA-4841-A94D-EA4FE05E6E9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1640979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AFB58F39-8DEC-4D44-B86F-164ACF9E793F}"/>
              </a:ext>
            </a:extLst>
          </p:cNvPr>
          <p:cNvSpPr txBox="1"/>
          <p:nvPr userDrawn="1"/>
        </p:nvSpPr>
        <p:spPr>
          <a:xfrm rot="5400000">
            <a:off x="11384351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A45D05D5-C785-4D1F-9705-D936D74257FD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458" y="495728"/>
            <a:ext cx="2305574" cy="461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799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3897" r:id="rId2"/>
    <p:sldLayoutId id="2147484052" r:id="rId3"/>
    <p:sldLayoutId id="2147483898" r:id="rId4"/>
    <p:sldLayoutId id="2147484053" r:id="rId5"/>
    <p:sldLayoutId id="2147483899" r:id="rId6"/>
    <p:sldLayoutId id="2147483900" r:id="rId7"/>
    <p:sldLayoutId id="2147484059" r:id="rId8"/>
    <p:sldLayoutId id="2147484060" r:id="rId9"/>
    <p:sldLayoutId id="2147484011" r:id="rId10"/>
    <p:sldLayoutId id="2147484012" r:id="rId11"/>
    <p:sldLayoutId id="2147484013" r:id="rId12"/>
    <p:sldLayoutId id="2147484016" r:id="rId13"/>
    <p:sldLayoutId id="2147484017" r:id="rId14"/>
    <p:sldLayoutId id="2147484018" r:id="rId15"/>
    <p:sldLayoutId id="2147484019" r:id="rId16"/>
    <p:sldLayoutId id="2147483912" r:id="rId17"/>
    <p:sldLayoutId id="2147483915" r:id="rId18"/>
    <p:sldLayoutId id="2147484058" r:id="rId19"/>
    <p:sldLayoutId id="2147484064" r:id="rId20"/>
  </p:sldLayoutIdLst>
  <p:hf hdr="0" ftr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1pPr>
      <a:lvl2pPr marL="396000" indent="-185738" algn="l" defTabSz="742950" rtl="0" eaLnBrk="1" latinLnBrk="0" hangingPunct="1">
        <a:lnSpc>
          <a:spcPct val="100000"/>
        </a:lnSpc>
        <a:spcBef>
          <a:spcPts val="600"/>
        </a:spcBef>
        <a:buFont typeface="Trebuchet MS" panose="020B0603020202020204" pitchFamily="34" charset="0"/>
        <a:buChar char="−"/>
        <a:defRPr sz="1400" kern="1200">
          <a:solidFill>
            <a:srgbClr val="4B4B4B"/>
          </a:solidFill>
          <a:latin typeface="+mn-lt"/>
          <a:ea typeface="+mn-ea"/>
          <a:cs typeface="+mn-cs"/>
        </a:defRPr>
      </a:lvl2pPr>
      <a:lvl3pPr marL="612000" indent="-185738" algn="l" defTabSz="7429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rgbClr val="4B4B4B"/>
          </a:solidFill>
          <a:latin typeface="+mn-lt"/>
          <a:ea typeface="+mn-ea"/>
          <a:cs typeface="+mn-cs"/>
        </a:defRPr>
      </a:lvl3pPr>
      <a:lvl4pPr marL="82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»"/>
        <a:defRPr sz="1100" kern="1200">
          <a:solidFill>
            <a:srgbClr val="4B4B4B"/>
          </a:solidFill>
          <a:latin typeface="+mn-lt"/>
          <a:ea typeface="+mn-ea"/>
          <a:cs typeface="+mn-cs"/>
        </a:defRPr>
      </a:lvl4pPr>
      <a:lvl5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›"/>
        <a:defRPr sz="1100" kern="1200">
          <a:solidFill>
            <a:srgbClr val="4B4B4B"/>
          </a:solidFill>
          <a:latin typeface="+mn-lt"/>
          <a:ea typeface="+mn-ea"/>
          <a:cs typeface="+mn-cs"/>
        </a:defRPr>
      </a:lvl5pPr>
      <a:lvl6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&gt;"/>
        <a:defRPr sz="1100" kern="1200">
          <a:solidFill>
            <a:srgbClr val="4B4B4B"/>
          </a:solidFill>
          <a:latin typeface="+mn-lt"/>
          <a:ea typeface="+mn-ea"/>
          <a:cs typeface="+mn-cs"/>
        </a:defRPr>
      </a:lvl6pPr>
      <a:lvl7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¬"/>
        <a:defRPr sz="1100" kern="1200">
          <a:solidFill>
            <a:srgbClr val="4B4B4B"/>
          </a:solidFill>
          <a:latin typeface="+mn-lt"/>
          <a:ea typeface="+mn-ea"/>
          <a:cs typeface="+mn-cs"/>
        </a:defRPr>
      </a:lvl7pPr>
      <a:lvl8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Courier New" panose="02070309020205020404" pitchFamily="49" charset="0"/>
        <a:buChar char="o"/>
        <a:defRPr sz="1100" kern="1200">
          <a:solidFill>
            <a:srgbClr val="4B4B4B"/>
          </a:solidFill>
          <a:latin typeface="+mn-lt"/>
          <a:ea typeface="+mn-ea"/>
          <a:cs typeface="+mn-cs"/>
        </a:defRPr>
      </a:lvl8pPr>
      <a:lvl9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▫"/>
        <a:defRPr sz="1100" kern="1200">
          <a:solidFill>
            <a:srgbClr val="4B4B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3906">
          <p15:clr>
            <a:srgbClr val="F26B43"/>
          </p15:clr>
        </p15:guide>
        <p15:guide id="7" orient="horz" pos="618">
          <p15:clr>
            <a:srgbClr val="F26B43"/>
          </p15:clr>
        </p15:guide>
        <p15:guide id="8" orient="horz" pos="777">
          <p15:clr>
            <a:srgbClr val="F26B43"/>
          </p15:clr>
        </p15:guide>
        <p15:guide id="9" orient="horz" pos="91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21.svg"/><Relationship Id="rId1" Type="http://schemas.openxmlformats.org/officeDocument/2006/relationships/tags" Target="../tags/tag1.xml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sv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research.google.com/bigpicture/attacking-discrimination-in-ml/" TargetMode="External"/><Relationship Id="rId13" Type="http://schemas.openxmlformats.org/officeDocument/2006/relationships/chart" Target="../charts/chart2.xml"/><Relationship Id="rId18" Type="http://schemas.openxmlformats.org/officeDocument/2006/relationships/image" Target="../media/image34.png"/><Relationship Id="rId26" Type="http://schemas.openxmlformats.org/officeDocument/2006/relationships/image" Target="../media/image41.svg"/><Relationship Id="rId3" Type="http://schemas.openxmlformats.org/officeDocument/2006/relationships/chart" Target="../charts/chart1.xml"/><Relationship Id="rId21" Type="http://schemas.openxmlformats.org/officeDocument/2006/relationships/image" Target="../media/image37.svg"/><Relationship Id="rId7" Type="http://schemas.openxmlformats.org/officeDocument/2006/relationships/image" Target="../media/image25.svg"/><Relationship Id="rId12" Type="http://schemas.openxmlformats.org/officeDocument/2006/relationships/image" Target="../media/image29.svg"/><Relationship Id="rId17" Type="http://schemas.openxmlformats.org/officeDocument/2006/relationships/image" Target="../media/image33.png"/><Relationship Id="rId25" Type="http://schemas.openxmlformats.org/officeDocument/2006/relationships/image" Target="../media/image40.png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32.png"/><Relationship Id="rId20" Type="http://schemas.openxmlformats.org/officeDocument/2006/relationships/image" Target="../media/image36.png"/><Relationship Id="rId29" Type="http://schemas.openxmlformats.org/officeDocument/2006/relationships/image" Target="../media/image42.png"/><Relationship Id="rId1" Type="http://schemas.openxmlformats.org/officeDocument/2006/relationships/tags" Target="../tags/tag2.xml"/><Relationship Id="rId6" Type="http://schemas.openxmlformats.org/officeDocument/2006/relationships/image" Target="../media/image24.png"/><Relationship Id="rId11" Type="http://schemas.openxmlformats.org/officeDocument/2006/relationships/image" Target="../media/image28.png"/><Relationship Id="rId24" Type="http://schemas.openxmlformats.org/officeDocument/2006/relationships/image" Target="../media/image39.svg"/><Relationship Id="rId32" Type="http://schemas.openxmlformats.org/officeDocument/2006/relationships/image" Target="../media/image45.svg"/><Relationship Id="rId5" Type="http://schemas.openxmlformats.org/officeDocument/2006/relationships/image" Target="../media/image23.svg"/><Relationship Id="rId15" Type="http://schemas.openxmlformats.org/officeDocument/2006/relationships/image" Target="../media/image31.svg"/><Relationship Id="rId23" Type="http://schemas.openxmlformats.org/officeDocument/2006/relationships/image" Target="../media/image38.png"/><Relationship Id="rId28" Type="http://schemas.openxmlformats.org/officeDocument/2006/relationships/chart" Target="../charts/chart5.xml"/><Relationship Id="rId10" Type="http://schemas.openxmlformats.org/officeDocument/2006/relationships/image" Target="../media/image27.svg"/><Relationship Id="rId19" Type="http://schemas.openxmlformats.org/officeDocument/2006/relationships/image" Target="../media/image35.svg"/><Relationship Id="rId31" Type="http://schemas.openxmlformats.org/officeDocument/2006/relationships/image" Target="../media/image44.png"/><Relationship Id="rId4" Type="http://schemas.openxmlformats.org/officeDocument/2006/relationships/image" Target="../media/image22.png"/><Relationship Id="rId9" Type="http://schemas.openxmlformats.org/officeDocument/2006/relationships/image" Target="../media/image26.png"/><Relationship Id="rId14" Type="http://schemas.openxmlformats.org/officeDocument/2006/relationships/image" Target="../media/image30.png"/><Relationship Id="rId22" Type="http://schemas.openxmlformats.org/officeDocument/2006/relationships/chart" Target="../charts/chart3.xml"/><Relationship Id="rId27" Type="http://schemas.openxmlformats.org/officeDocument/2006/relationships/chart" Target="../charts/chart4.xml"/><Relationship Id="rId30" Type="http://schemas.openxmlformats.org/officeDocument/2006/relationships/image" Target="../media/image4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2B71109-26E8-4072-A917-56DD8F8A8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9034" y="1398227"/>
            <a:ext cx="7090394" cy="776288"/>
          </a:xfrm>
        </p:spPr>
        <p:txBody>
          <a:bodyPr/>
          <a:lstStyle/>
          <a:p>
            <a:r>
              <a:rPr lang="de-DE" sz="2399" dirty="0" err="1"/>
              <a:t>FairDice</a:t>
            </a:r>
            <a:r>
              <a:rPr lang="de-DE" sz="2399" dirty="0"/>
              <a:t>: </a:t>
            </a:r>
            <a:r>
              <a:rPr lang="en-US" sz="2399" dirty="0"/>
              <a:t>An interactive lecture hall experiment to showcase the nuances of fairness</a:t>
            </a:r>
            <a:endParaRPr lang="de-DE" sz="2399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80F378F-E7F2-4B4A-B776-E8B71F204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Background </a:t>
            </a:r>
            <a:r>
              <a:rPr lang="de-DE" dirty="0" err="1"/>
              <a:t>information</a:t>
            </a:r>
            <a:r>
              <a:rPr lang="de-DE" dirty="0"/>
              <a:t> and real-</a:t>
            </a:r>
            <a:r>
              <a:rPr lang="de-DE" dirty="0" err="1"/>
              <a:t>world</a:t>
            </a:r>
            <a:r>
              <a:rPr lang="de-DE" dirty="0"/>
              <a:t> </a:t>
            </a:r>
            <a:r>
              <a:rPr lang="de-DE" dirty="0" err="1"/>
              <a:t>examp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4165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BA573E-C681-D7FE-BAB0-D5BCF365A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 the discussed fairness notions can be found in real applications. And algorithms can implement them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729E4D-D3E3-4E88-76FF-15CC6B2FC6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4E102-0542-436C-A6B7-6FAAD0892AAD}" type="datetime1">
              <a:rPr lang="de-DE" smtClean="0"/>
              <a:t>14.02.2024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EF2828-0DA0-9FD8-33C0-851421791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2</a:t>
            </a:fld>
            <a:endParaRPr lang="en-US"/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166FDBB7-A547-C7D9-445B-CE2436BD81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2512" y="1449389"/>
            <a:ext cx="11084579" cy="4427537"/>
          </a:xfrm>
        </p:spPr>
        <p:txBody>
          <a:bodyPr>
            <a:normAutofit lnSpcReduction="10000"/>
          </a:bodyPr>
          <a:lstStyle/>
          <a:p>
            <a:pPr marL="0" indent="0" defTabSz="948514" fontAlgn="base">
              <a:spcBef>
                <a:spcPct val="20000"/>
              </a:spcBef>
              <a:spcAft>
                <a:spcPct val="0"/>
              </a:spcAft>
              <a:buNone/>
              <a:defRPr/>
            </a:pPr>
            <a:r>
              <a:rPr lang="de-DE" sz="1599" kern="0" dirty="0">
                <a:solidFill>
                  <a:srgbClr val="000000"/>
                </a:solidFill>
                <a:latin typeface="Trebuchet MS"/>
              </a:rPr>
              <a:t>Setting: Winners </a:t>
            </a:r>
            <a:r>
              <a:rPr lang="de-DE" sz="1599" kern="0" dirty="0" err="1">
                <a:solidFill>
                  <a:srgbClr val="000000"/>
                </a:solidFill>
                <a:latin typeface="Trebuchet MS"/>
              </a:rPr>
              <a:t>are</a:t>
            </a:r>
            <a:r>
              <a:rPr lang="de-DE" sz="1599" kern="0" dirty="0">
                <a:solidFill>
                  <a:srgbClr val="000000"/>
                </a:solidFill>
                <a:latin typeface="Trebuchet MS"/>
              </a:rPr>
              <a:t> </a:t>
            </a:r>
            <a:r>
              <a:rPr lang="de-DE" sz="1599" kern="0" dirty="0" err="1">
                <a:solidFill>
                  <a:srgbClr val="000000"/>
                </a:solidFill>
                <a:latin typeface="Trebuchet MS"/>
              </a:rPr>
              <a:t>accepted</a:t>
            </a:r>
            <a:r>
              <a:rPr lang="de-DE" sz="1599" kern="0" dirty="0">
                <a:solidFill>
                  <a:srgbClr val="000000"/>
                </a:solidFill>
                <a:latin typeface="Trebuchet MS"/>
              </a:rPr>
              <a:t> </a:t>
            </a:r>
            <a:r>
              <a:rPr lang="de-DE" sz="1599" kern="0" dirty="0" err="1">
                <a:solidFill>
                  <a:srgbClr val="000000"/>
                </a:solidFill>
                <a:latin typeface="Trebuchet MS"/>
              </a:rPr>
              <a:t>for</a:t>
            </a:r>
            <a:r>
              <a:rPr lang="de-DE" sz="1599" kern="0" dirty="0">
                <a:solidFill>
                  <a:srgbClr val="000000"/>
                </a:solidFill>
                <a:latin typeface="Trebuchet MS"/>
              </a:rPr>
              <a:t> </a:t>
            </a:r>
            <a:r>
              <a:rPr lang="de-DE" sz="1599" kern="0" dirty="0" err="1">
                <a:solidFill>
                  <a:srgbClr val="000000"/>
                </a:solidFill>
                <a:latin typeface="Trebuchet MS"/>
              </a:rPr>
              <a:t>university</a:t>
            </a:r>
            <a:r>
              <a:rPr lang="de-DE" sz="1599" kern="0" dirty="0">
                <a:solidFill>
                  <a:srgbClr val="000000"/>
                </a:solidFill>
                <a:latin typeface="Trebuchet MS"/>
              </a:rPr>
              <a:t>.</a:t>
            </a:r>
          </a:p>
          <a:p>
            <a:pPr marL="0" indent="0" defTabSz="948514" fontAlgn="base">
              <a:spcBef>
                <a:spcPct val="20000"/>
              </a:spcBef>
              <a:spcAft>
                <a:spcPct val="0"/>
              </a:spcAft>
              <a:buNone/>
              <a:defRPr/>
            </a:pPr>
            <a:endParaRPr lang="de-DE" sz="650" b="1" kern="0" dirty="0">
              <a:solidFill>
                <a:srgbClr val="000000"/>
              </a:solidFill>
              <a:latin typeface="Trebuchet MS"/>
            </a:endParaRPr>
          </a:p>
          <a:p>
            <a:pPr marL="0" indent="0" defTabSz="948514" fontAlgn="base">
              <a:spcBef>
                <a:spcPct val="20000"/>
              </a:spcBef>
              <a:spcAft>
                <a:spcPct val="0"/>
              </a:spcAft>
              <a:buNone/>
              <a:defRPr/>
            </a:pP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Rules 1 and 2: all people are equal</a:t>
            </a:r>
          </a:p>
          <a:p>
            <a:pPr marL="150606" indent="-150606" defTabSz="948514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Rule 1: Trivial equal distribution, </a:t>
            </a: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no AI necessary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Example: Everyone is accepted, e.g., online courses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B10034"/>
                </a:solidFill>
                <a:latin typeface="Trebuchet MS"/>
              </a:rPr>
              <a:t>Problem: limited resources, what about elite universities? </a:t>
            </a:r>
          </a:p>
          <a:p>
            <a:pPr marL="150606" indent="-150606" defTabSz="948514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Rule 2: Brute luck, equal opportunities, </a:t>
            </a: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no AI necessary</a:t>
            </a: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Example: lottery procedure for limited courses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B10034"/>
                </a:solidFill>
                <a:latin typeface="Trebuchet MS"/>
              </a:rPr>
              <a:t>Problem: arbitrary, unpredictable, undeserved?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endParaRPr lang="de-DE" sz="650" kern="0" dirty="0">
              <a:solidFill>
                <a:srgbClr val="000000"/>
              </a:solidFill>
              <a:latin typeface="Trebuchet MS"/>
            </a:endParaRPr>
          </a:p>
          <a:p>
            <a:pPr marL="0" indent="0" defTabSz="948514" fontAlgn="base">
              <a:spcBef>
                <a:spcPct val="20000"/>
              </a:spcBef>
              <a:spcAft>
                <a:spcPct val="0"/>
              </a:spcAft>
              <a:buNone/>
              <a:defRPr/>
            </a:pP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Rules 3 and 4: some people are privileged (red = academic households)</a:t>
            </a:r>
          </a:p>
          <a:p>
            <a:pPr marL="150606" indent="-150606" defTabSz="948514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Rule 3: Mitigating inequalities, </a:t>
            </a: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AI optimized for “fairness”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Example: Quota regulations for (historically) marginalized groups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B10034"/>
                </a:solidFill>
                <a:latin typeface="Trebuchet MS"/>
              </a:rPr>
              <a:t>Problem: Which groups deserve preferential treatment? And why?</a:t>
            </a:r>
          </a:p>
          <a:p>
            <a:pPr marL="150606" indent="-150606" defTabSz="948514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Rule 4: Rewarding inequalities ("merit principle"), </a:t>
            </a: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AI optimized for accuracy</a:t>
            </a: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Example: Elite universities that only look at grades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B10034"/>
                </a:solidFill>
                <a:latin typeface="Trebuchet MS"/>
              </a:rPr>
              <a:t>Problem: Reinforcement of historical inequalities, lack of social mobility</a:t>
            </a:r>
            <a:endParaRPr lang="de-DE" sz="1599" kern="0" dirty="0">
              <a:solidFill>
                <a:srgbClr val="B10034"/>
              </a:solidFill>
              <a:latin typeface="Trebuchet MS"/>
            </a:endParaRPr>
          </a:p>
          <a:p>
            <a:pPr marL="258549" indent="-258549" defTabSz="948514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endParaRPr lang="en-US" sz="1599" kern="0" dirty="0">
              <a:solidFill>
                <a:srgbClr val="000000"/>
              </a:solidFill>
              <a:latin typeface="Trebuchet MS"/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BC9AD85-AD88-4D36-F9A1-EF727FC9F2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80700" y="1858887"/>
            <a:ext cx="4115696" cy="3528483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0B8987-D0CB-DCF3-9D9C-FE6DFBCCA211}"/>
              </a:ext>
            </a:extLst>
          </p:cNvPr>
          <p:cNvCxnSpPr>
            <a:cxnSpLocks/>
          </p:cNvCxnSpPr>
          <p:nvPr/>
        </p:nvCxnSpPr>
        <p:spPr>
          <a:xfrm>
            <a:off x="10003185" y="1858886"/>
            <a:ext cx="0" cy="325376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8BDBB0BF-1226-E4E5-58F4-BD3A4ECB434A}"/>
              </a:ext>
            </a:extLst>
          </p:cNvPr>
          <p:cNvSpPr txBox="1"/>
          <p:nvPr/>
        </p:nvSpPr>
        <p:spPr>
          <a:xfrm>
            <a:off x="8386699" y="3246530"/>
            <a:ext cx="1444201" cy="18957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de-DE" sz="1200" b="1" dirty="0" err="1"/>
              <a:t>Equal</a:t>
            </a:r>
            <a:r>
              <a:rPr lang="de-DE" sz="1200" b="1" dirty="0"/>
              <a:t> </a:t>
            </a:r>
            <a:r>
              <a:rPr lang="de-DE" sz="1200" b="1" dirty="0" err="1"/>
              <a:t>opportunity</a:t>
            </a:r>
            <a:r>
              <a:rPr lang="de-DE" sz="1200" b="1" dirty="0"/>
              <a:t>?</a:t>
            </a:r>
            <a:endParaRPr lang="en-US" sz="1200" b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A37B5B4-27EE-7575-468C-A200819B14BA}"/>
              </a:ext>
            </a:extLst>
          </p:cNvPr>
          <p:cNvSpPr txBox="1"/>
          <p:nvPr/>
        </p:nvSpPr>
        <p:spPr>
          <a:xfrm>
            <a:off x="10008707" y="3237782"/>
            <a:ext cx="1677768" cy="21335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200" b="1" err="1"/>
              <a:t>Discrimination</a:t>
            </a:r>
            <a:r>
              <a:rPr lang="de-DE" sz="1200" b="1"/>
              <a:t>?</a:t>
            </a:r>
            <a:endParaRPr lang="de-DE" sz="2133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067699C-A904-7132-1231-EBFF5040A665}"/>
              </a:ext>
            </a:extLst>
          </p:cNvPr>
          <p:cNvSpPr txBox="1"/>
          <p:nvPr/>
        </p:nvSpPr>
        <p:spPr>
          <a:xfrm>
            <a:off x="8386699" y="4862693"/>
            <a:ext cx="1444201" cy="18957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ctr"/>
            <a:r>
              <a:rPr lang="de-DE" sz="1200" b="1" err="1"/>
              <a:t>Equal</a:t>
            </a:r>
            <a:r>
              <a:rPr lang="de-DE" sz="1200" b="1"/>
              <a:t> </a:t>
            </a:r>
            <a:r>
              <a:rPr lang="de-DE" sz="1200" b="1" err="1"/>
              <a:t>outcome</a:t>
            </a:r>
            <a:r>
              <a:rPr lang="de-DE" sz="1200" b="1"/>
              <a:t>?</a:t>
            </a:r>
            <a:endParaRPr lang="en-US" sz="1200" b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B2A74AB-5C9B-69DE-AC69-847FE46E3A9A}"/>
              </a:ext>
            </a:extLst>
          </p:cNvPr>
          <p:cNvSpPr txBox="1"/>
          <p:nvPr/>
        </p:nvSpPr>
        <p:spPr>
          <a:xfrm>
            <a:off x="9523987" y="5116878"/>
            <a:ext cx="1001206" cy="18957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de-DE" sz="1200" b="1"/>
              <a:t>Disposition</a:t>
            </a:r>
            <a:endParaRPr lang="en-US" sz="1200" b="1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D6BA3B6-CB7E-3BB2-ABC8-F6FD5896D1BE}"/>
              </a:ext>
            </a:extLst>
          </p:cNvPr>
          <p:cNvSpPr txBox="1"/>
          <p:nvPr/>
        </p:nvSpPr>
        <p:spPr>
          <a:xfrm>
            <a:off x="10110348" y="4862693"/>
            <a:ext cx="1494412" cy="18957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de-DE" sz="1200" b="1"/>
              <a:t>Affirmative Action?</a:t>
            </a:r>
            <a:endParaRPr lang="en-US" sz="1200" b="1"/>
          </a:p>
        </p:txBody>
      </p:sp>
    </p:spTree>
    <p:extLst>
      <p:ext uri="{BB962C8B-B14F-4D97-AF65-F5344CB8AC3E}">
        <p14:creationId xmlns:p14="http://schemas.microsoft.com/office/powerpoint/2010/main" val="4173169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2" grpId="0"/>
      <p:bldP spid="23" grpId="0" animBg="1"/>
      <p:bldP spid="2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5711AF-27F6-C692-4FCB-AAFF81901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0" dirty="0">
                <a:latin typeface="Trebuchet MS"/>
                <a:cs typeface="Arial"/>
              </a:rPr>
              <a:t>ML recognizes and reproduces learned patterns…</a:t>
            </a:r>
            <a:br>
              <a:rPr lang="en-US" b="0" dirty="0">
                <a:latin typeface="Trebuchet MS" panose="020B0603020202020204" pitchFamily="34" charset="0"/>
              </a:rPr>
            </a:br>
            <a:r>
              <a:rPr lang="en-US" b="0" dirty="0">
                <a:latin typeface="Trebuchet MS"/>
                <a:cs typeface="Arial"/>
              </a:rPr>
              <a:t>…but what if we do not approve of these patterns?</a:t>
            </a:r>
            <a:endParaRPr lang="en-US" b="0" dirty="0">
              <a:latin typeface="Trebuchet MS" panose="020B0603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027C3F8-9787-3AAC-63BE-BB85898E2A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6139" y="8776917"/>
            <a:ext cx="1036223" cy="18608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1218804" rtl="0" eaLnBrk="1" latinLnBrk="0" hangingPunct="1"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09402" algn="l" defTabSz="1218804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804" algn="l" defTabSz="1218804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206" algn="l" defTabSz="1218804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608" algn="l" defTabSz="1218804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009" algn="l" defTabSz="1218804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411" algn="l" defTabSz="1218804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5813" algn="l" defTabSz="1218804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215" algn="l" defTabSz="1218804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03"/>
            <a:fld id="{99DF0BE4-C999-4208-A58B-E70FAA0E1019}" type="datetime1">
              <a:rPr lang="de-DE" smtClean="0"/>
              <a:t>14.02.2024</a:t>
            </a:fld>
            <a:endParaRPr lang="en-US" sz="900">
              <a:solidFill>
                <a:srgbClr val="8C8C8C"/>
              </a:solidFill>
              <a:latin typeface="Trebuchet M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1F7820-9634-B7B4-6D3D-9E23F406D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103"/>
            <a:fld id="{64647E8F-5052-4581-98D0-7C32D5A45346}" type="slidenum">
              <a:rPr lang="en-US">
                <a:solidFill>
                  <a:srgbClr val="8C8C8C"/>
                </a:solidFill>
                <a:latin typeface="Trebuchet MS"/>
              </a:rPr>
              <a:pPr defTabSz="914103"/>
              <a:t>3</a:t>
            </a:fld>
            <a:endParaRPr lang="en-US">
              <a:solidFill>
                <a:srgbClr val="8C8C8C"/>
              </a:solidFill>
              <a:latin typeface="Trebuchet MS"/>
            </a:endParaRPr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E0B4A9AB-B6D9-FEE1-D83B-2A9E6881F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04852" y="1466741"/>
            <a:ext cx="3573640" cy="249996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338FB18-F222-4BF0-99B2-647F82C63BA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7105"/>
          <a:stretch/>
        </p:blipFill>
        <p:spPr>
          <a:xfrm>
            <a:off x="1863507" y="1409477"/>
            <a:ext cx="2917122" cy="258402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FC15670-890B-7354-3C0C-18050A72E12B}"/>
              </a:ext>
            </a:extLst>
          </p:cNvPr>
          <p:cNvSpPr txBox="1"/>
          <p:nvPr/>
        </p:nvSpPr>
        <p:spPr>
          <a:xfrm>
            <a:off x="701496" y="3989140"/>
            <a:ext cx="441463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103"/>
            <a:r>
              <a:rPr lang="en-US" sz="800" i="1">
                <a:solidFill>
                  <a:srgbClr val="000000"/>
                </a:solidFill>
                <a:latin typeface="Trebuchet MS" panose="020B0603020202020204" pitchFamily="34" charset="0"/>
              </a:rPr>
              <a:t>https://www.theverge.com/2016/3/24/11297050/tay-microsoft-chatbot-racis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704D3C4-59CB-892B-2A6D-215609D80A1A}"/>
              </a:ext>
            </a:extLst>
          </p:cNvPr>
          <p:cNvSpPr txBox="1"/>
          <p:nvPr/>
        </p:nvSpPr>
        <p:spPr>
          <a:xfrm>
            <a:off x="5681771" y="3989140"/>
            <a:ext cx="54632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103"/>
            <a:r>
              <a:rPr lang="en-US" sz="800" i="1">
                <a:solidFill>
                  <a:srgbClr val="000000"/>
                </a:solidFill>
                <a:latin typeface="Trebuchet MS" panose="020B0603020202020204" pitchFamily="34" charset="0"/>
              </a:rPr>
              <a:t>https://www.propublica.org/article/machine-bias-risk-assessments-in-criminal-sentencing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8B91F21-0EFE-A6D7-D095-736322BEF79F}"/>
              </a:ext>
            </a:extLst>
          </p:cNvPr>
          <p:cNvGrpSpPr/>
          <p:nvPr/>
        </p:nvGrpSpPr>
        <p:grpSpPr>
          <a:xfrm>
            <a:off x="552574" y="4303705"/>
            <a:ext cx="5463244" cy="1888355"/>
            <a:chOff x="550863" y="4216892"/>
            <a:chExt cx="5464931" cy="1888938"/>
          </a:xfrm>
        </p:grpSpPr>
        <p:pic>
          <p:nvPicPr>
            <p:cNvPr id="7" name="Inhaltsplatzhalter 8" descr="Datenbank mit einfarbiger Füllung">
              <a:extLst>
                <a:ext uri="{FF2B5EF4-FFF2-40B4-BE49-F238E27FC236}">
                  <a16:creationId xmlns:a16="http://schemas.microsoft.com/office/drawing/2014/main" id="{FA77BA97-8E9C-955F-CE31-9857CE5291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17450" y="4300499"/>
              <a:ext cx="938147" cy="938147"/>
            </a:xfrm>
            <a:prstGeom prst="rect">
              <a:avLst/>
            </a:prstGeom>
          </p:spPr>
        </p:pic>
        <p:sp>
          <p:nvSpPr>
            <p:cNvPr id="8" name="Würfel 10">
              <a:extLst>
                <a:ext uri="{FF2B5EF4-FFF2-40B4-BE49-F238E27FC236}">
                  <a16:creationId xmlns:a16="http://schemas.microsoft.com/office/drawing/2014/main" id="{089DC03A-6F24-D7EB-9EF3-A8D587104FA6}"/>
                </a:ext>
              </a:extLst>
            </p:cNvPr>
            <p:cNvSpPr/>
            <p:nvPr/>
          </p:nvSpPr>
          <p:spPr>
            <a:xfrm>
              <a:off x="2810522" y="4388690"/>
              <a:ext cx="1021377" cy="761765"/>
            </a:xfrm>
            <a:prstGeom prst="cube">
              <a:avLst/>
            </a:prstGeom>
            <a:solidFill>
              <a:schemeClr val="tx1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03"/>
              <a:endParaRPr lang="en-US" sz="1599" dirty="0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  <p:cxnSp>
          <p:nvCxnSpPr>
            <p:cNvPr id="9" name="Gerade Verbindung mit Pfeil 22">
              <a:extLst>
                <a:ext uri="{FF2B5EF4-FFF2-40B4-BE49-F238E27FC236}">
                  <a16:creationId xmlns:a16="http://schemas.microsoft.com/office/drawing/2014/main" id="{96760D12-8ED0-EB1D-BD14-B5092B79F069}"/>
                </a:ext>
              </a:extLst>
            </p:cNvPr>
            <p:cNvCxnSpPr>
              <a:cxnSpLocks/>
            </p:cNvCxnSpPr>
            <p:nvPr/>
          </p:nvCxnSpPr>
          <p:spPr>
            <a:xfrm>
              <a:off x="2073248" y="4769572"/>
              <a:ext cx="467223" cy="1"/>
            </a:xfrm>
            <a:prstGeom prst="straightConnector1">
              <a:avLst/>
            </a:prstGeom>
            <a:ln>
              <a:solidFill>
                <a:schemeClr val="bg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mit Pfeil 22">
              <a:extLst>
                <a:ext uri="{FF2B5EF4-FFF2-40B4-BE49-F238E27FC236}">
                  <a16:creationId xmlns:a16="http://schemas.microsoft.com/office/drawing/2014/main" id="{5A7FEEB8-6143-6AAE-8DBE-4FB3E86F405E}"/>
                </a:ext>
              </a:extLst>
            </p:cNvPr>
            <p:cNvCxnSpPr>
              <a:cxnSpLocks/>
            </p:cNvCxnSpPr>
            <p:nvPr/>
          </p:nvCxnSpPr>
          <p:spPr>
            <a:xfrm>
              <a:off x="4025750" y="4769572"/>
              <a:ext cx="467223" cy="1"/>
            </a:xfrm>
            <a:prstGeom prst="straightConnector1">
              <a:avLst/>
            </a:prstGeom>
            <a:ln>
              <a:solidFill>
                <a:schemeClr val="bg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B59CCA19-067A-88C9-960E-134C2E66A98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686823" y="4388833"/>
              <a:ext cx="761478" cy="761478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9593E9D-796B-917E-0B20-6A4330E91E33}"/>
                </a:ext>
              </a:extLst>
            </p:cNvPr>
            <p:cNvSpPr txBox="1"/>
            <p:nvPr/>
          </p:nvSpPr>
          <p:spPr>
            <a:xfrm>
              <a:off x="621994" y="5813716"/>
              <a:ext cx="1887104" cy="17383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914103"/>
              <a:r>
                <a:rPr lang="en-US" sz="1400">
                  <a:solidFill>
                    <a:srgbClr val="000000"/>
                  </a:solidFill>
                  <a:latin typeface="Trebuchet MS" panose="020B0603020202020204" pitchFamily="34" charset="0"/>
                </a:rPr>
                <a:t>Misogynists on Twitter</a:t>
              </a:r>
            </a:p>
          </p:txBody>
        </p:sp>
        <p:sp>
          <p:nvSpPr>
            <p:cNvPr id="50" name="Speech Bubble: Rectangle with Corners Rounded 49">
              <a:extLst>
                <a:ext uri="{FF2B5EF4-FFF2-40B4-BE49-F238E27FC236}">
                  <a16:creationId xmlns:a16="http://schemas.microsoft.com/office/drawing/2014/main" id="{D9F2FC3B-3D3B-08DC-6D48-218760EEB603}"/>
                </a:ext>
              </a:extLst>
            </p:cNvPr>
            <p:cNvSpPr/>
            <p:nvPr/>
          </p:nvSpPr>
          <p:spPr>
            <a:xfrm>
              <a:off x="617314" y="5299861"/>
              <a:ext cx="1896464" cy="337574"/>
            </a:xfrm>
            <a:prstGeom prst="wedgeRoundRectCallout">
              <a:avLst>
                <a:gd name="adj1" fmla="val -36230"/>
                <a:gd name="adj2" fmla="val 85073"/>
                <a:gd name="adj3" fmla="val 16667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3"/>
              <a:r>
                <a:rPr lang="en-US" sz="1400" dirty="0">
                  <a:solidFill>
                    <a:srgbClr val="FFFFFF"/>
                  </a:solidFill>
                  <a:latin typeface="Trebuchet MS" panose="020B0603020202020204" pitchFamily="34" charset="0"/>
                </a:rPr>
                <a:t>“Feminists are evil!”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E8A8A8FB-41B8-9024-97A4-3C7D1CF6F452}"/>
                </a:ext>
              </a:extLst>
            </p:cNvPr>
            <p:cNvSpPr txBox="1"/>
            <p:nvPr/>
          </p:nvSpPr>
          <p:spPr>
            <a:xfrm>
              <a:off x="2470674" y="5784178"/>
              <a:ext cx="1701074" cy="23290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914103"/>
              <a:r>
                <a:rPr lang="en-US" sz="1400">
                  <a:solidFill>
                    <a:srgbClr val="000000"/>
                  </a:solidFill>
                  <a:latin typeface="Trebuchet MS" panose="020B0603020202020204" pitchFamily="34" charset="0"/>
                </a:rPr>
                <a:t>237k Retweets</a:t>
              </a:r>
            </a:p>
          </p:txBody>
        </p:sp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EBE80CE1-46DB-7BFB-D542-B52A2319047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076649" y="5231580"/>
              <a:ext cx="489122" cy="489122"/>
            </a:xfrm>
            <a:prstGeom prst="rect">
              <a:avLst/>
            </a:prstGeom>
          </p:spPr>
        </p:pic>
        <p:sp>
          <p:nvSpPr>
            <p:cNvPr id="54" name="Speech Bubble: Rectangle with Corners Rounded 53">
              <a:extLst>
                <a:ext uri="{FF2B5EF4-FFF2-40B4-BE49-F238E27FC236}">
                  <a16:creationId xmlns:a16="http://schemas.microsoft.com/office/drawing/2014/main" id="{CCDFADD5-386A-7814-110C-CDB5C06B447E}"/>
                </a:ext>
              </a:extLst>
            </p:cNvPr>
            <p:cNvSpPr/>
            <p:nvPr/>
          </p:nvSpPr>
          <p:spPr>
            <a:xfrm>
              <a:off x="4044174" y="5299861"/>
              <a:ext cx="1896464" cy="337574"/>
            </a:xfrm>
            <a:prstGeom prst="wedgeRoundRectCallout">
              <a:avLst>
                <a:gd name="adj1" fmla="val -4086"/>
                <a:gd name="adj2" fmla="val -87985"/>
                <a:gd name="adj3" fmla="val 1666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3"/>
              <a:r>
                <a:rPr lang="en-US" sz="1400" dirty="0">
                  <a:solidFill>
                    <a:srgbClr val="FFFFFF"/>
                  </a:solidFill>
                  <a:latin typeface="Trebuchet MS" panose="020B0603020202020204" pitchFamily="34" charset="0"/>
                </a:rPr>
                <a:t>“Feminists are evil!”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F323FC26-15F2-471B-249E-5EEC48DE448D}"/>
                </a:ext>
              </a:extLst>
            </p:cNvPr>
            <p:cNvSpPr txBox="1"/>
            <p:nvPr/>
          </p:nvSpPr>
          <p:spPr>
            <a:xfrm>
              <a:off x="4217025" y="5784178"/>
              <a:ext cx="1701074" cy="23290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914103"/>
              <a:r>
                <a:rPr lang="en-US" sz="1400">
                  <a:solidFill>
                    <a:srgbClr val="000000"/>
                  </a:solidFill>
                  <a:latin typeface="Trebuchet MS" panose="020B0603020202020204" pitchFamily="34" charset="0"/>
                </a:rPr>
                <a:t>Sexist Twitterbot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4CF3BB49-A6F7-ACA5-DD3E-506BE5F43597}"/>
                </a:ext>
              </a:extLst>
            </p:cNvPr>
            <p:cNvSpPr/>
            <p:nvPr/>
          </p:nvSpPr>
          <p:spPr>
            <a:xfrm>
              <a:off x="550863" y="4216892"/>
              <a:ext cx="5464931" cy="1888938"/>
            </a:xfrm>
            <a:prstGeom prst="rect">
              <a:avLst/>
            </a:prstGeom>
            <a:noFill/>
            <a:ln w="28575">
              <a:solidFill>
                <a:srgbClr val="009D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3"/>
              <a:endParaRPr lang="en-US" sz="1799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F5761CE-02E3-0167-041A-A8C6F8CED672}"/>
              </a:ext>
            </a:extLst>
          </p:cNvPr>
          <p:cNvGrpSpPr/>
          <p:nvPr/>
        </p:nvGrpSpPr>
        <p:grpSpPr>
          <a:xfrm>
            <a:off x="6176183" y="4303705"/>
            <a:ext cx="5463244" cy="1888355"/>
            <a:chOff x="6176207" y="4216891"/>
            <a:chExt cx="5464931" cy="1983883"/>
          </a:xfrm>
        </p:grpSpPr>
        <p:pic>
          <p:nvPicPr>
            <p:cNvPr id="82" name="Inhaltsplatzhalter 8" descr="Datenbank mit einfarbiger Füllung">
              <a:extLst>
                <a:ext uri="{FF2B5EF4-FFF2-40B4-BE49-F238E27FC236}">
                  <a16:creationId xmlns:a16="http://schemas.microsoft.com/office/drawing/2014/main" id="{1D7622B9-9D23-F238-3304-41616B6D6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688803" y="4300499"/>
              <a:ext cx="938147" cy="938147"/>
            </a:xfrm>
            <a:prstGeom prst="rect">
              <a:avLst/>
            </a:prstGeom>
          </p:spPr>
        </p:pic>
        <p:sp>
          <p:nvSpPr>
            <p:cNvPr id="83" name="Würfel 10">
              <a:extLst>
                <a:ext uri="{FF2B5EF4-FFF2-40B4-BE49-F238E27FC236}">
                  <a16:creationId xmlns:a16="http://schemas.microsoft.com/office/drawing/2014/main" id="{AAB5B00B-6AF0-737A-B272-761BF1C5BCCD}"/>
                </a:ext>
              </a:extLst>
            </p:cNvPr>
            <p:cNvSpPr/>
            <p:nvPr/>
          </p:nvSpPr>
          <p:spPr>
            <a:xfrm>
              <a:off x="8481875" y="4388690"/>
              <a:ext cx="1021377" cy="761765"/>
            </a:xfrm>
            <a:prstGeom prst="cube">
              <a:avLst/>
            </a:prstGeom>
            <a:solidFill>
              <a:schemeClr val="tx1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03"/>
              <a:endParaRPr lang="en-US" sz="1599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  <p:cxnSp>
          <p:nvCxnSpPr>
            <p:cNvPr id="84" name="Gerade Verbindung mit Pfeil 22">
              <a:extLst>
                <a:ext uri="{FF2B5EF4-FFF2-40B4-BE49-F238E27FC236}">
                  <a16:creationId xmlns:a16="http://schemas.microsoft.com/office/drawing/2014/main" id="{5CA598B8-D8F4-5F88-5C9F-75B398D1177D}"/>
                </a:ext>
              </a:extLst>
            </p:cNvPr>
            <p:cNvCxnSpPr>
              <a:cxnSpLocks/>
            </p:cNvCxnSpPr>
            <p:nvPr/>
          </p:nvCxnSpPr>
          <p:spPr>
            <a:xfrm>
              <a:off x="7744601" y="4769572"/>
              <a:ext cx="467223" cy="1"/>
            </a:xfrm>
            <a:prstGeom prst="straightConnector1">
              <a:avLst/>
            </a:prstGeom>
            <a:ln>
              <a:solidFill>
                <a:schemeClr val="bg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mit Pfeil 22">
              <a:extLst>
                <a:ext uri="{FF2B5EF4-FFF2-40B4-BE49-F238E27FC236}">
                  <a16:creationId xmlns:a16="http://schemas.microsoft.com/office/drawing/2014/main" id="{16F0D3C6-F8A1-8FD6-8CDD-7FA5A4D42F07}"/>
                </a:ext>
              </a:extLst>
            </p:cNvPr>
            <p:cNvCxnSpPr>
              <a:cxnSpLocks/>
            </p:cNvCxnSpPr>
            <p:nvPr/>
          </p:nvCxnSpPr>
          <p:spPr>
            <a:xfrm>
              <a:off x="9697103" y="4769572"/>
              <a:ext cx="467223" cy="1"/>
            </a:xfrm>
            <a:prstGeom prst="straightConnector1">
              <a:avLst/>
            </a:prstGeom>
            <a:ln>
              <a:solidFill>
                <a:schemeClr val="bg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6" name="Graphic 85">
              <a:extLst>
                <a:ext uri="{FF2B5EF4-FFF2-40B4-BE49-F238E27FC236}">
                  <a16:creationId xmlns:a16="http://schemas.microsoft.com/office/drawing/2014/main" id="{362B6F4A-C7F2-0385-F5BD-679C706E341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358176" y="4388833"/>
              <a:ext cx="761478" cy="761478"/>
            </a:xfrm>
            <a:prstGeom prst="rect">
              <a:avLst/>
            </a:prstGeom>
          </p:spPr>
        </p:pic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AD337E5D-38E3-12C5-480D-9A4000F90636}"/>
                </a:ext>
              </a:extLst>
            </p:cNvPr>
            <p:cNvSpPr txBox="1"/>
            <p:nvPr/>
          </p:nvSpPr>
          <p:spPr>
            <a:xfrm>
              <a:off x="6214325" y="5813715"/>
              <a:ext cx="1887104" cy="17383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914103"/>
              <a:r>
                <a:rPr lang="en-US" sz="1400">
                  <a:solidFill>
                    <a:srgbClr val="000000"/>
                  </a:solidFill>
                  <a:latin typeface="Trebuchet MS" panose="020B0603020202020204" pitchFamily="34" charset="0"/>
                </a:rPr>
                <a:t>Biased judges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43EDD2D9-D458-BD4F-EBF8-2FD1F093425B}"/>
                </a:ext>
              </a:extLst>
            </p:cNvPr>
            <p:cNvSpPr txBox="1"/>
            <p:nvPr/>
          </p:nvSpPr>
          <p:spPr>
            <a:xfrm>
              <a:off x="8142027" y="5784178"/>
              <a:ext cx="1701074" cy="23290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914103"/>
              <a:r>
                <a:rPr lang="en-US" sz="1400">
                  <a:solidFill>
                    <a:srgbClr val="000000"/>
                  </a:solidFill>
                  <a:latin typeface="Trebuchet MS" panose="020B0603020202020204" pitchFamily="34" charset="0"/>
                </a:rPr>
                <a:t>Blind trust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45CFC5E6-15B1-C415-3F72-3A29B2B6F074}"/>
                </a:ext>
              </a:extLst>
            </p:cNvPr>
            <p:cNvSpPr txBox="1"/>
            <p:nvPr/>
          </p:nvSpPr>
          <p:spPr>
            <a:xfrm>
              <a:off x="9888377" y="5784178"/>
              <a:ext cx="1701074" cy="23290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914103"/>
              <a:r>
                <a:rPr lang="en-US" sz="1400">
                  <a:solidFill>
                    <a:srgbClr val="000000"/>
                  </a:solidFill>
                  <a:latin typeface="Trebuchet MS" panose="020B0603020202020204" pitchFamily="34" charset="0"/>
                </a:rPr>
                <a:t>Bias propagation</a:t>
              </a: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C3D98EEC-516E-7869-AFD0-2F2F6E8AAB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735490" y="5233264"/>
              <a:ext cx="514146" cy="514146"/>
            </a:xfrm>
            <a:prstGeom prst="rect">
              <a:avLst/>
            </a:prstGeom>
          </p:spPr>
        </p:pic>
        <p:pic>
          <p:nvPicPr>
            <p:cNvPr id="96" name="Graphic 95">
              <a:extLst>
                <a:ext uri="{FF2B5EF4-FFF2-40B4-BE49-F238E27FC236}">
                  <a16:creationId xmlns:a16="http://schemas.microsoft.com/office/drawing/2014/main" id="{8452273C-6AC9-2AE4-480F-2C50500096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900804" y="5233264"/>
              <a:ext cx="514146" cy="514146"/>
            </a:xfrm>
            <a:prstGeom prst="rect">
              <a:avLst/>
            </a:prstGeom>
          </p:spPr>
        </p:pic>
        <p:pic>
          <p:nvPicPr>
            <p:cNvPr id="100" name="Graphic 99">
              <a:extLst>
                <a:ext uri="{FF2B5EF4-FFF2-40B4-BE49-F238E27FC236}">
                  <a16:creationId xmlns:a16="http://schemas.microsoft.com/office/drawing/2014/main" id="{F9CB5B9B-67D3-DE37-CDC7-1B46E75DA7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480090" y="5258664"/>
              <a:ext cx="514146" cy="514146"/>
            </a:xfrm>
            <a:prstGeom prst="rect">
              <a:avLst/>
            </a:prstGeom>
          </p:spPr>
        </p:pic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3037395B-5E18-92AA-3F6F-D3C1699A09F9}"/>
                </a:ext>
              </a:extLst>
            </p:cNvPr>
            <p:cNvSpPr/>
            <p:nvPr/>
          </p:nvSpPr>
          <p:spPr>
            <a:xfrm>
              <a:off x="6176207" y="4216891"/>
              <a:ext cx="5464931" cy="1983883"/>
            </a:xfrm>
            <a:prstGeom prst="rect">
              <a:avLst/>
            </a:prstGeom>
            <a:noFill/>
            <a:ln w="28575">
              <a:solidFill>
                <a:srgbClr val="009D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3"/>
              <a:endParaRPr lang="en-US" sz="1799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41550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5290B0-5CE5-7ED5-AD17-3CC3E1514E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407199"/>
            <a:ext cx="7959718" cy="638175"/>
          </a:xfrm>
        </p:spPr>
        <p:txBody>
          <a:bodyPr/>
          <a:lstStyle/>
          <a:p>
            <a:r>
              <a:rPr lang="en-US" sz="2000" dirty="0">
                <a:latin typeface="Trebuchet MS" panose="020B0603020202020204" pitchFamily="34" charset="0"/>
              </a:rPr>
              <a:t>There are many formalized fairness metrics to tackle </a:t>
            </a:r>
            <a:br>
              <a:rPr lang="en-US" sz="2000" dirty="0">
                <a:latin typeface="Trebuchet MS" panose="020B0603020202020204" pitchFamily="34" charset="0"/>
              </a:rPr>
            </a:br>
            <a:r>
              <a:rPr lang="en-US" sz="2000" dirty="0">
                <a:latin typeface="Trebuchet MS" panose="020B0603020202020204" pitchFamily="34" charset="0"/>
              </a:rPr>
              <a:t>undesirable outcomes: e.g., statistical parity and equal opportunity</a:t>
            </a:r>
            <a:endParaRPr lang="en-US" sz="20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81184D-B277-374E-8D4D-55FFDB1F59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48315-5C55-43F9-A29F-C34B29E96AC2}" type="datetime1">
              <a:rPr lang="de-DE" smtClean="0"/>
              <a:t>14.02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2BB85E-6149-FA7F-BD90-4A2BFE1E0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4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4A5195D-63BB-7939-9F5D-01336BABA31C}"/>
              </a:ext>
            </a:extLst>
          </p:cNvPr>
          <p:cNvGrpSpPr/>
          <p:nvPr/>
        </p:nvGrpSpPr>
        <p:grpSpPr>
          <a:xfrm>
            <a:off x="9548447" y="2770064"/>
            <a:ext cx="1553603" cy="1035735"/>
            <a:chOff x="4051113" y="2212978"/>
            <a:chExt cx="1554562" cy="1036375"/>
          </a:xfrm>
        </p:grpSpPr>
        <p:graphicFrame>
          <p:nvGraphicFramePr>
            <p:cNvPr id="8" name="Chart 7">
              <a:extLst>
                <a:ext uri="{FF2B5EF4-FFF2-40B4-BE49-F238E27FC236}">
                  <a16:creationId xmlns:a16="http://schemas.microsoft.com/office/drawing/2014/main" id="{DAC79130-94CF-915E-8AF1-AD2C6231EF56}"/>
                </a:ext>
              </a:extLst>
            </p:cNvPr>
            <p:cNvGraphicFramePr/>
            <p:nvPr/>
          </p:nvGraphicFramePr>
          <p:xfrm>
            <a:off x="4051113" y="2212978"/>
            <a:ext cx="1554562" cy="10363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301CEA53-7744-2603-0279-3E0F7D6E57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866601" y="2485879"/>
              <a:ext cx="217847" cy="217847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E555C35B-2394-7F98-EACC-1E6EC21F13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4645427" y="2757372"/>
              <a:ext cx="217847" cy="217847"/>
            </a:xfrm>
            <a:prstGeom prst="rect">
              <a:avLst/>
            </a:prstGeom>
          </p:spPr>
        </p:pic>
      </p:grp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C66F25A1-5872-80F2-95B5-9C9FA72C1835}"/>
              </a:ext>
            </a:extLst>
          </p:cNvPr>
          <p:cNvSpPr txBox="1">
            <a:spLocks/>
          </p:cNvSpPr>
          <p:nvPr/>
        </p:nvSpPr>
        <p:spPr>
          <a:xfrm>
            <a:off x="806162" y="6034701"/>
            <a:ext cx="11081159" cy="143962"/>
          </a:xfrm>
          <a:prstGeom prst="rect">
            <a:avLst/>
          </a:prstGeom>
        </p:spPr>
        <p:txBody>
          <a:bodyPr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Clr>
                <a:srgbClr val="009D6D"/>
              </a:buClr>
              <a:buSzPct val="100000"/>
              <a:buFont typeface="Arial" panose="020B0604020202020204" pitchFamily="34" charset="0"/>
              <a:buChar char="•"/>
              <a:defRPr lang="de-DE" alt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Clr>
                <a:srgbClr val="009D6D"/>
              </a:buClr>
              <a:buSzPct val="100000"/>
              <a:buFont typeface="Wingdings" panose="05000000000000000000" pitchFamily="2" charset="2"/>
              <a:buChar char="§"/>
              <a:defRPr lang="en-US" alt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Clr>
                <a:srgbClr val="009D6D"/>
              </a:buClr>
              <a:buSzPct val="60000"/>
              <a:buFont typeface="Arial" panose="020B0604020202020204" pitchFamily="34" charset="0"/>
              <a:buChar char="─"/>
              <a:defRPr lang="en-US" alt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Clr>
                <a:srgbClr val="009D6D"/>
              </a:buClr>
              <a:buSzPct val="100000"/>
              <a:buFont typeface="Courier New" panose="02070309020205020404" pitchFamily="49" charset="0"/>
              <a:buChar char="o"/>
              <a:defRPr lang="en-US" alt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Clr>
                <a:schemeClr val="tx2"/>
              </a:buClr>
              <a:buSzPct val="60000"/>
              <a:buFont typeface="Wingdings" panose="05000000000000000000" pitchFamily="2" charset="2"/>
              <a:buChar char="v"/>
              <a:defRPr lang="en-US" alt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914050">
              <a:buNone/>
            </a:pPr>
            <a:r>
              <a:rPr lang="en-US" altLang="de-DE" sz="933" i="1" dirty="0" err="1">
                <a:solidFill>
                  <a:prstClr val="black">
                    <a:lumMod val="50000"/>
                    <a:lumOff val="50000"/>
                  </a:prstClr>
                </a:solidFill>
                <a:latin typeface="Trebuchet MS" panose="020B0603020202020204" pitchFamily="34" charset="0"/>
              </a:rPr>
              <a:t>Friedler</a:t>
            </a:r>
            <a:r>
              <a:rPr lang="en-US" altLang="de-DE" sz="933" i="1" dirty="0">
                <a:solidFill>
                  <a:prstClr val="black">
                    <a:lumMod val="50000"/>
                    <a:lumOff val="50000"/>
                  </a:prstClr>
                </a:solidFill>
                <a:latin typeface="Trebuchet MS" panose="020B0603020202020204" pitchFamily="34" charset="0"/>
              </a:rPr>
              <a:t> et al. (2021), </a:t>
            </a:r>
            <a:r>
              <a:rPr lang="en-US" altLang="de-DE" sz="933" i="1" dirty="0">
                <a:solidFill>
                  <a:prstClr val="black">
                    <a:lumMod val="50000"/>
                    <a:lumOff val="50000"/>
                  </a:prstClr>
                </a:solidFill>
                <a:latin typeface="Trebuchet MS" panose="020B0603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research.google.com/bigpicture/attacking-discrimination-in-ml/</a:t>
            </a:r>
            <a:endParaRPr lang="en-US" altLang="de-DE" sz="933" i="1" dirty="0">
              <a:solidFill>
                <a:prstClr val="black">
                  <a:lumMod val="50000"/>
                  <a:lumOff val="50000"/>
                </a:prstClr>
              </a:solidFill>
              <a:latin typeface="Trebuchet MS" panose="020B0603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4DC4979-BD61-C15B-86FF-D70E9822D69E}"/>
              </a:ext>
            </a:extLst>
          </p:cNvPr>
          <p:cNvGrpSpPr/>
          <p:nvPr/>
        </p:nvGrpSpPr>
        <p:grpSpPr>
          <a:xfrm>
            <a:off x="6723635" y="1982232"/>
            <a:ext cx="2242589" cy="1356740"/>
            <a:chOff x="1731373" y="2162083"/>
            <a:chExt cx="2243973" cy="1357577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593DB2D-FBFB-B673-BFCA-6D2C84660D8A}"/>
                </a:ext>
              </a:extLst>
            </p:cNvPr>
            <p:cNvGrpSpPr/>
            <p:nvPr/>
          </p:nvGrpSpPr>
          <p:grpSpPr>
            <a:xfrm>
              <a:off x="2338869" y="2782426"/>
              <a:ext cx="1107949" cy="737234"/>
              <a:chOff x="2202561" y="2062691"/>
              <a:chExt cx="1107949" cy="737234"/>
            </a:xfrm>
          </p:grpSpPr>
          <p:pic>
            <p:nvPicPr>
              <p:cNvPr id="15" name="Graphic 14">
                <a:extLst>
                  <a:ext uri="{FF2B5EF4-FFF2-40B4-BE49-F238E27FC236}">
                    <a16:creationId xmlns:a16="http://schemas.microsoft.com/office/drawing/2014/main" id="{A053BBC9-9407-0F7C-EC36-81006EED93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2834302" y="2062691"/>
                <a:ext cx="476208" cy="476208"/>
              </a:xfrm>
              <a:prstGeom prst="rect">
                <a:avLst/>
              </a:prstGeom>
            </p:spPr>
          </p:pic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E7F748F4-700F-90DA-1853-79CF1CEEB5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202561" y="2323717"/>
                <a:ext cx="476208" cy="476208"/>
              </a:xfrm>
              <a:prstGeom prst="rect">
                <a:avLst/>
              </a:prstGeom>
            </p:spPr>
          </p:pic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E84E9A2-47EF-8746-5056-2006F5412976}"/>
                </a:ext>
              </a:extLst>
            </p:cNvPr>
            <p:cNvSpPr txBox="1"/>
            <p:nvPr/>
          </p:nvSpPr>
          <p:spPr>
            <a:xfrm>
              <a:off x="1731373" y="2162083"/>
              <a:ext cx="2243973" cy="21873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 defTabSz="609205"/>
              <a:r>
                <a:rPr lang="de-DE" sz="1400">
                  <a:solidFill>
                    <a:prstClr val="black"/>
                  </a:solidFill>
                  <a:latin typeface="Trebuchet MS" panose="020B0603020202020204" pitchFamily="34" charset="0"/>
                </a:rPr>
                <a:t>Pool </a:t>
              </a:r>
              <a:r>
                <a:rPr lang="de-DE" sz="1400" err="1">
                  <a:solidFill>
                    <a:prstClr val="black"/>
                  </a:solidFill>
                  <a:latin typeface="Trebuchet MS" panose="020B0603020202020204" pitchFamily="34" charset="0"/>
                </a:rPr>
                <a:t>of</a:t>
              </a:r>
              <a:r>
                <a:rPr lang="de-DE" sz="1400">
                  <a:solidFill>
                    <a:prstClr val="black"/>
                  </a:solidFill>
                  <a:latin typeface="Trebuchet MS" panose="020B0603020202020204" pitchFamily="34" charset="0"/>
                </a:rPr>
                <a:t> </a:t>
              </a:r>
              <a:r>
                <a:rPr lang="de-DE" sz="1400" err="1">
                  <a:solidFill>
                    <a:prstClr val="black"/>
                  </a:solidFill>
                  <a:latin typeface="Trebuchet MS" panose="020B0603020202020204" pitchFamily="34" charset="0"/>
                </a:rPr>
                <a:t>qualified</a:t>
              </a:r>
              <a:r>
                <a:rPr lang="de-DE" sz="1400">
                  <a:solidFill>
                    <a:prstClr val="black"/>
                  </a:solidFill>
                  <a:latin typeface="Trebuchet MS" panose="020B0603020202020204" pitchFamily="34" charset="0"/>
                </a:rPr>
                <a:t> </a:t>
              </a:r>
              <a:r>
                <a:rPr lang="de-DE" sz="1400" err="1">
                  <a:solidFill>
                    <a:prstClr val="black"/>
                  </a:solidFill>
                  <a:latin typeface="Trebuchet MS" panose="020B0603020202020204" pitchFamily="34" charset="0"/>
                </a:rPr>
                <a:t>applicants</a:t>
              </a:r>
              <a:endParaRPr lang="en-US" sz="140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</p:grp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3203411-1243-86C7-A23B-891A8BAB53CD}"/>
              </a:ext>
            </a:extLst>
          </p:cNvPr>
          <p:cNvCxnSpPr>
            <a:cxnSpLocks/>
          </p:cNvCxnSpPr>
          <p:nvPr/>
        </p:nvCxnSpPr>
        <p:spPr>
          <a:xfrm>
            <a:off x="8699592" y="2958376"/>
            <a:ext cx="53326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A93F29E-7084-B0F3-46B8-C58204356E10}"/>
              </a:ext>
            </a:extLst>
          </p:cNvPr>
          <p:cNvGrpSpPr/>
          <p:nvPr/>
        </p:nvGrpSpPr>
        <p:grpSpPr>
          <a:xfrm>
            <a:off x="9548448" y="1972200"/>
            <a:ext cx="1553603" cy="1035735"/>
            <a:chOff x="4051113" y="2212978"/>
            <a:chExt cx="1554562" cy="1036375"/>
          </a:xfrm>
        </p:grpSpPr>
        <p:graphicFrame>
          <p:nvGraphicFramePr>
            <p:cNvPr id="19" name="Chart 18">
              <a:extLst>
                <a:ext uri="{FF2B5EF4-FFF2-40B4-BE49-F238E27FC236}">
                  <a16:creationId xmlns:a16="http://schemas.microsoft.com/office/drawing/2014/main" id="{48A373C0-2048-E1A3-58B9-DAD3DEFC16BA}"/>
                </a:ext>
              </a:extLst>
            </p:cNvPr>
            <p:cNvGraphicFramePr/>
            <p:nvPr/>
          </p:nvGraphicFramePr>
          <p:xfrm>
            <a:off x="4051113" y="2212978"/>
            <a:ext cx="1554562" cy="10363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3"/>
            </a:graphicData>
          </a:graphic>
        </p:graphicFrame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E20782D0-E6B0-31A9-34A8-512E939A06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866601" y="2485879"/>
              <a:ext cx="217847" cy="217847"/>
            </a:xfrm>
            <a:prstGeom prst="rect">
              <a:avLst/>
            </a:prstGeom>
          </p:spPr>
        </p:pic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58C6624E-14C8-A9C9-8CB9-9C3521CA805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4645427" y="2757372"/>
              <a:ext cx="217847" cy="217847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E11CF87-0200-1D1B-834F-A3D6BA5FB911}"/>
              </a:ext>
            </a:extLst>
          </p:cNvPr>
          <p:cNvGrpSpPr/>
          <p:nvPr/>
        </p:nvGrpSpPr>
        <p:grpSpPr>
          <a:xfrm>
            <a:off x="7071406" y="2238821"/>
            <a:ext cx="1439112" cy="1439112"/>
            <a:chOff x="5304006" y="1633293"/>
            <a:chExt cx="1080000" cy="108000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D475D04B-E8A4-F918-F49E-667196889895}"/>
                </a:ext>
              </a:extLst>
            </p:cNvPr>
            <p:cNvSpPr/>
            <p:nvPr/>
          </p:nvSpPr>
          <p:spPr>
            <a:xfrm>
              <a:off x="5304006" y="1633293"/>
              <a:ext cx="1080000" cy="1080000"/>
            </a:xfrm>
            <a:prstGeom prst="ellipse">
              <a:avLst/>
            </a:prstGeom>
            <a:solidFill>
              <a:srgbClr val="009D6D"/>
            </a:solidFill>
            <a:ln>
              <a:solidFill>
                <a:srgbClr val="009D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84" tIns="45693" rIns="91384" bIns="456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205"/>
              <a:endParaRPr lang="en-US" sz="1798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  <p:pic>
          <p:nvPicPr>
            <p:cNvPr id="24" name="Graphic 23" descr="Checkmark with solid fill">
              <a:extLst>
                <a:ext uri="{FF2B5EF4-FFF2-40B4-BE49-F238E27FC236}">
                  <a16:creationId xmlns:a16="http://schemas.microsoft.com/office/drawing/2014/main" id="{757CAC61-25E5-9F8A-3FE7-4E987D952B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606952" y="1936239"/>
              <a:ext cx="474109" cy="474109"/>
            </a:xfrm>
            <a:prstGeom prst="rect">
              <a:avLst/>
            </a:prstGeom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7B5BE445-DB08-786C-F950-A63A2C6DBD67}"/>
              </a:ext>
            </a:extLst>
          </p:cNvPr>
          <p:cNvSpPr txBox="1"/>
          <p:nvPr/>
        </p:nvSpPr>
        <p:spPr>
          <a:xfrm>
            <a:off x="2427092" y="1458305"/>
            <a:ext cx="1811758" cy="3713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 defTabSz="609205"/>
            <a:r>
              <a:rPr lang="de-DE" sz="1598" b="1">
                <a:solidFill>
                  <a:prstClr val="black"/>
                </a:solidFill>
                <a:latin typeface="Trebuchet MS" panose="020B0603020202020204" pitchFamily="34" charset="0"/>
              </a:rPr>
              <a:t>Statistical Parity</a:t>
            </a:r>
            <a:endParaRPr lang="en-US" sz="1598" b="1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2BE6E2-2567-7543-BA73-66BDB714A084}"/>
              </a:ext>
            </a:extLst>
          </p:cNvPr>
          <p:cNvSpPr txBox="1"/>
          <p:nvPr/>
        </p:nvSpPr>
        <p:spPr>
          <a:xfrm>
            <a:off x="8163444" y="1458305"/>
            <a:ext cx="2063543" cy="3713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 defTabSz="609205"/>
            <a:r>
              <a:rPr lang="de-DE" sz="1598" b="1" err="1">
                <a:solidFill>
                  <a:prstClr val="black"/>
                </a:solidFill>
                <a:latin typeface="Trebuchet MS" panose="020B0603020202020204" pitchFamily="34" charset="0"/>
              </a:rPr>
              <a:t>Equal</a:t>
            </a:r>
            <a:r>
              <a:rPr lang="de-DE" sz="1598" b="1">
                <a:solidFill>
                  <a:prstClr val="black"/>
                </a:solidFill>
                <a:latin typeface="Trebuchet MS" panose="020B0603020202020204" pitchFamily="34" charset="0"/>
              </a:rPr>
              <a:t> </a:t>
            </a:r>
            <a:r>
              <a:rPr lang="de-DE" sz="1598" b="1" err="1">
                <a:solidFill>
                  <a:prstClr val="black"/>
                </a:solidFill>
                <a:latin typeface="Trebuchet MS" panose="020B0603020202020204" pitchFamily="34" charset="0"/>
              </a:rPr>
              <a:t>Opportunity</a:t>
            </a:r>
            <a:endParaRPr lang="en-US" sz="1598" b="1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A4CE9E7-A5BB-21F7-8842-74AD9D4F657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603457" y="4040518"/>
            <a:ext cx="4725531" cy="126326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37D1C33-8C18-F77F-2236-43DFEBC5A44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68444" y="4036022"/>
            <a:ext cx="4725531" cy="1272258"/>
          </a:xfrm>
          <a:prstGeom prst="rect">
            <a:avLst/>
          </a:prstGeom>
        </p:spPr>
      </p:pic>
      <p:pic>
        <p:nvPicPr>
          <p:cNvPr id="29" name="Grafik 10" descr="Frau mit einfarbiger Füllung">
            <a:extLst>
              <a:ext uri="{FF2B5EF4-FFF2-40B4-BE49-F238E27FC236}">
                <a16:creationId xmlns:a16="http://schemas.microsoft.com/office/drawing/2014/main" id="{E1896169-FD6F-4096-D44A-DE273FF8F9B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423212" y="2194766"/>
            <a:ext cx="590602" cy="590602"/>
          </a:xfrm>
          <a:prstGeom prst="rect">
            <a:avLst/>
          </a:prstGeom>
        </p:spPr>
      </p:pic>
      <p:pic>
        <p:nvPicPr>
          <p:cNvPr id="30" name="Grafik 12" descr="Mann mit einfarbiger Füllung">
            <a:extLst>
              <a:ext uri="{FF2B5EF4-FFF2-40B4-BE49-F238E27FC236}">
                <a16:creationId xmlns:a16="http://schemas.microsoft.com/office/drawing/2014/main" id="{965F8D48-9BCA-DA98-5EC1-DF1504FED5C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423212" y="2992629"/>
            <a:ext cx="590602" cy="590602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141952C6-98A9-64AB-93CF-481C530D5A81}"/>
              </a:ext>
            </a:extLst>
          </p:cNvPr>
          <p:cNvGrpSpPr/>
          <p:nvPr/>
        </p:nvGrpSpPr>
        <p:grpSpPr>
          <a:xfrm>
            <a:off x="806162" y="1878412"/>
            <a:ext cx="2775850" cy="1962641"/>
            <a:chOff x="1464578" y="2100839"/>
            <a:chExt cx="2777563" cy="1963848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84A4947-9A00-4A13-7DEA-3D3AF036ED13}"/>
                </a:ext>
              </a:extLst>
            </p:cNvPr>
            <p:cNvGrpSpPr/>
            <p:nvPr/>
          </p:nvGrpSpPr>
          <p:grpSpPr>
            <a:xfrm>
              <a:off x="1464578" y="2212978"/>
              <a:ext cx="2777563" cy="1851709"/>
              <a:chOff x="1328270" y="1493243"/>
              <a:chExt cx="2777563" cy="1851709"/>
            </a:xfrm>
          </p:grpSpPr>
          <p:graphicFrame>
            <p:nvGraphicFramePr>
              <p:cNvPr id="34" name="Chart 33">
                <a:extLst>
                  <a:ext uri="{FF2B5EF4-FFF2-40B4-BE49-F238E27FC236}">
                    <a16:creationId xmlns:a16="http://schemas.microsoft.com/office/drawing/2014/main" id="{A82259A1-1EA1-165B-19DC-026103C6820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762226994"/>
                  </p:ext>
                </p:extLst>
              </p:nvPr>
            </p:nvGraphicFramePr>
            <p:xfrm>
              <a:off x="1328270" y="1493243"/>
              <a:ext cx="2777563" cy="185170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2"/>
              </a:graphicData>
            </a:graphic>
          </p:graphicFrame>
          <p:pic>
            <p:nvPicPr>
              <p:cNvPr id="35" name="Graphic 34">
                <a:extLst>
                  <a:ext uri="{FF2B5EF4-FFF2-40B4-BE49-F238E27FC236}">
                    <a16:creationId xmlns:a16="http://schemas.microsoft.com/office/drawing/2014/main" id="{786D353F-0C39-50F3-EFDE-54B61FA408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rcRect/>
              <a:stretch/>
            </p:blipFill>
            <p:spPr>
              <a:xfrm>
                <a:off x="2834302" y="2062691"/>
                <a:ext cx="476208" cy="476208"/>
              </a:xfrm>
              <a:prstGeom prst="rect">
                <a:avLst/>
              </a:prstGeom>
            </p:spPr>
          </p:pic>
          <p:pic>
            <p:nvPicPr>
              <p:cNvPr id="36" name="Graphic 35">
                <a:extLst>
                  <a:ext uri="{FF2B5EF4-FFF2-40B4-BE49-F238E27FC236}">
                    <a16:creationId xmlns:a16="http://schemas.microsoft.com/office/drawing/2014/main" id="{AE148860-9B14-5AE4-9057-E410EB293E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6"/>
                  </a:ext>
                </a:extLst>
              </a:blip>
              <a:srcRect/>
              <a:stretch/>
            </p:blipFill>
            <p:spPr>
              <a:xfrm>
                <a:off x="2202561" y="2323718"/>
                <a:ext cx="476208" cy="476208"/>
              </a:xfrm>
              <a:prstGeom prst="rect">
                <a:avLst/>
              </a:prstGeom>
            </p:spPr>
          </p:pic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D87FB08-20B3-A64F-1E8B-67789738030B}"/>
                </a:ext>
              </a:extLst>
            </p:cNvPr>
            <p:cNvSpPr txBox="1"/>
            <p:nvPr/>
          </p:nvSpPr>
          <p:spPr>
            <a:xfrm>
              <a:off x="1998167" y="2100839"/>
              <a:ext cx="1710382" cy="194825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 defTabSz="609205"/>
              <a:r>
                <a:rPr lang="de-DE" sz="1400" dirty="0">
                  <a:solidFill>
                    <a:prstClr val="black"/>
                  </a:solidFill>
                  <a:latin typeface="Trebuchet MS" panose="020B0603020202020204" pitchFamily="34" charset="0"/>
                </a:rPr>
                <a:t>Pool </a:t>
              </a:r>
              <a:r>
                <a:rPr lang="de-DE" sz="1400" dirty="0" err="1">
                  <a:solidFill>
                    <a:prstClr val="black"/>
                  </a:solidFill>
                  <a:latin typeface="Trebuchet MS" panose="020B0603020202020204" pitchFamily="34" charset="0"/>
                </a:rPr>
                <a:t>of</a:t>
              </a:r>
              <a:r>
                <a:rPr lang="de-DE" sz="1400" dirty="0">
                  <a:solidFill>
                    <a:prstClr val="black"/>
                  </a:solidFill>
                  <a:latin typeface="Trebuchet MS" panose="020B0603020202020204" pitchFamily="34" charset="0"/>
                </a:rPr>
                <a:t> </a:t>
              </a:r>
              <a:r>
                <a:rPr lang="de-DE" sz="1400" dirty="0" err="1">
                  <a:solidFill>
                    <a:prstClr val="black"/>
                  </a:solidFill>
                  <a:latin typeface="Trebuchet MS" panose="020B0603020202020204" pitchFamily="34" charset="0"/>
                </a:rPr>
                <a:t>applicants</a:t>
              </a:r>
              <a:endParaRPr lang="en-US" sz="1400" dirty="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</p:grp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1C18E5F-1A72-EFE7-56F0-A4075F91EE46}"/>
              </a:ext>
            </a:extLst>
          </p:cNvPr>
          <p:cNvCxnSpPr>
            <a:cxnSpLocks/>
          </p:cNvCxnSpPr>
          <p:nvPr/>
        </p:nvCxnSpPr>
        <p:spPr>
          <a:xfrm>
            <a:off x="3048750" y="2940294"/>
            <a:ext cx="53326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3B98795-6369-2408-5D82-B33735097966}"/>
              </a:ext>
            </a:extLst>
          </p:cNvPr>
          <p:cNvGrpSpPr/>
          <p:nvPr/>
        </p:nvGrpSpPr>
        <p:grpSpPr>
          <a:xfrm>
            <a:off x="3897607" y="1954120"/>
            <a:ext cx="1553603" cy="1035735"/>
            <a:chOff x="4051113" y="2212978"/>
            <a:chExt cx="1554562" cy="1036375"/>
          </a:xfrm>
        </p:grpSpPr>
        <p:graphicFrame>
          <p:nvGraphicFramePr>
            <p:cNvPr id="39" name="Chart 38">
              <a:extLst>
                <a:ext uri="{FF2B5EF4-FFF2-40B4-BE49-F238E27FC236}">
                  <a16:creationId xmlns:a16="http://schemas.microsoft.com/office/drawing/2014/main" id="{61F4C8C3-FC01-9AA5-33CC-6F6D1EEE867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576539037"/>
                </p:ext>
              </p:extLst>
            </p:nvPr>
          </p:nvGraphicFramePr>
          <p:xfrm>
            <a:off x="4051113" y="2212978"/>
            <a:ext cx="1554562" cy="10363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7"/>
            </a:graphicData>
          </a:graphic>
        </p:graphicFrame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6D9529E9-A417-DFDF-D896-2BA22ABAF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/>
            <a:stretch/>
          </p:blipFill>
          <p:spPr>
            <a:xfrm>
              <a:off x="4866601" y="2537522"/>
              <a:ext cx="242404" cy="242404"/>
            </a:xfrm>
            <a:prstGeom prst="rect">
              <a:avLst/>
            </a:prstGeom>
          </p:spPr>
        </p:pic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2013D85F-93EF-B4FC-232B-47A2978CFE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/>
            <a:stretch/>
          </p:blipFill>
          <p:spPr>
            <a:xfrm>
              <a:off x="4560761" y="2648147"/>
              <a:ext cx="242405" cy="242405"/>
            </a:xfrm>
            <a:prstGeom prst="rect">
              <a:avLst/>
            </a:prstGeom>
          </p:spPr>
        </p:pic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1FBB8CD-6D9C-3DAB-CDBC-DD3EE8098265}"/>
              </a:ext>
            </a:extLst>
          </p:cNvPr>
          <p:cNvGrpSpPr/>
          <p:nvPr/>
        </p:nvGrpSpPr>
        <p:grpSpPr>
          <a:xfrm>
            <a:off x="3906649" y="2751983"/>
            <a:ext cx="1553603" cy="1035735"/>
            <a:chOff x="4051113" y="2212978"/>
            <a:chExt cx="1554562" cy="1036375"/>
          </a:xfrm>
        </p:grpSpPr>
        <p:graphicFrame>
          <p:nvGraphicFramePr>
            <p:cNvPr id="43" name="Chart 42">
              <a:extLst>
                <a:ext uri="{FF2B5EF4-FFF2-40B4-BE49-F238E27FC236}">
                  <a16:creationId xmlns:a16="http://schemas.microsoft.com/office/drawing/2014/main" id="{48AA01CD-0E88-B730-1081-D5CD6AD2F98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095543413"/>
                </p:ext>
              </p:extLst>
            </p:nvPr>
          </p:nvGraphicFramePr>
          <p:xfrm>
            <a:off x="4051113" y="2212978"/>
            <a:ext cx="1554562" cy="10363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8"/>
            </a:graphicData>
          </a:graphic>
        </p:graphicFrame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4AAD5FFF-3071-BFE0-F588-6DAB6A0305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/>
            <a:stretch/>
          </p:blipFill>
          <p:spPr>
            <a:xfrm>
              <a:off x="4866601" y="2537522"/>
              <a:ext cx="242404" cy="242404"/>
            </a:xfrm>
            <a:prstGeom prst="rect">
              <a:avLst/>
            </a:prstGeom>
          </p:spPr>
        </p:pic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2E2C86D7-BE07-B49D-5D25-67333EA02C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/>
            <a:stretch/>
          </p:blipFill>
          <p:spPr>
            <a:xfrm>
              <a:off x="4560761" y="2648147"/>
              <a:ext cx="242405" cy="242405"/>
            </a:xfrm>
            <a:prstGeom prst="rect">
              <a:avLst/>
            </a:prstGeom>
          </p:spPr>
        </p:pic>
      </p:grpSp>
      <p:pic>
        <p:nvPicPr>
          <p:cNvPr id="46" name="Graphic 45">
            <a:extLst>
              <a:ext uri="{FF2B5EF4-FFF2-40B4-BE49-F238E27FC236}">
                <a16:creationId xmlns:a16="http://schemas.microsoft.com/office/drawing/2014/main" id="{512CC6E4-22B2-A5A1-AE48-AA26E9754B52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rcRect/>
          <a:stretch/>
        </p:blipFill>
        <p:spPr>
          <a:xfrm>
            <a:off x="3855708" y="2276043"/>
            <a:ext cx="391886" cy="39188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6FF43AC5-D482-E121-D842-998B5A347D65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rcRect/>
          <a:stretch/>
        </p:blipFill>
        <p:spPr>
          <a:xfrm>
            <a:off x="3875558" y="3093757"/>
            <a:ext cx="352185" cy="352185"/>
          </a:xfrm>
          <a:prstGeom prst="rect">
            <a:avLst/>
          </a:prstGeom>
        </p:spPr>
      </p:pic>
      <p:sp>
        <p:nvSpPr>
          <p:cNvPr id="48" name="Rechteck 4">
            <a:extLst>
              <a:ext uri="{FF2B5EF4-FFF2-40B4-BE49-F238E27FC236}">
                <a16:creationId xmlns:a16="http://schemas.microsoft.com/office/drawing/2014/main" id="{C06A55BB-AE2F-0D50-48B5-86CD5798D8D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909384" y="5473656"/>
            <a:ext cx="8773717" cy="415123"/>
          </a:xfrm>
          <a:prstGeom prst="rect">
            <a:avLst/>
          </a:prstGeom>
          <a:solidFill>
            <a:schemeClr val="accent1"/>
          </a:solidFill>
          <a:ln w="9525" cmpd="sng">
            <a:solidFill>
              <a:srgbClr val="616161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95953" rIns="0" bIns="95953" anchor="b" anchorCtr="0">
            <a:spAutoFit/>
          </a:bodyPr>
          <a:lstStyle/>
          <a:p>
            <a:pPr algn="ctr" defTabSz="609205">
              <a:lnSpc>
                <a:spcPct val="90000"/>
              </a:lnSpc>
              <a:spcBef>
                <a:spcPts val="480"/>
              </a:spcBef>
              <a:buClr>
                <a:srgbClr val="009D6D"/>
              </a:buClr>
              <a:buSzPct val="100000"/>
            </a:pPr>
            <a:r>
              <a:rPr lang="en-US" sz="1598" b="1" dirty="0">
                <a:latin typeface="Trebuchet MS" panose="020B0603020202020204" pitchFamily="34" charset="0"/>
              </a:rPr>
              <a:t>Who selects these criteria? Who defines what sensitive groups are?</a:t>
            </a:r>
          </a:p>
        </p:txBody>
      </p:sp>
    </p:spTree>
    <p:extLst>
      <p:ext uri="{BB962C8B-B14F-4D97-AF65-F5344CB8AC3E}">
        <p14:creationId xmlns:p14="http://schemas.microsoft.com/office/powerpoint/2010/main" val="3763528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4|101.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heme/theme1.xml><?xml version="1.0" encoding="utf-8"?>
<a:theme xmlns:a="http://schemas.openxmlformats.org/drawingml/2006/main" name="Universität Hohenheim">
  <a:themeElements>
    <a:clrScheme name="UHOH">
      <a:dk1>
        <a:srgbClr val="000000"/>
      </a:dk1>
      <a:lt1>
        <a:srgbClr val="FFFFFF"/>
      </a:lt1>
      <a:dk2>
        <a:srgbClr val="004080"/>
      </a:dk2>
      <a:lt2>
        <a:srgbClr val="D9D9D9"/>
      </a:lt2>
      <a:accent1>
        <a:srgbClr val="FFF0C8"/>
      </a:accent1>
      <a:accent2>
        <a:srgbClr val="2694FE"/>
      </a:accent2>
      <a:accent3>
        <a:srgbClr val="889194"/>
      </a:accent3>
      <a:accent4>
        <a:srgbClr val="D2E9FF"/>
      </a:accent4>
      <a:accent5>
        <a:srgbClr val="179C7D"/>
      </a:accent5>
      <a:accent6>
        <a:srgbClr val="B10034"/>
      </a:accent6>
      <a:hlink>
        <a:srgbClr val="004080"/>
      </a:hlink>
      <a:folHlink>
        <a:srgbClr val="2694FE"/>
      </a:folHlink>
    </a:clrScheme>
    <a:fontScheme name="fim/fi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marL="285750" indent="-285750" algn="l">
          <a:buFont typeface="Wingdings" panose="05000000000000000000" pitchFamily="2" charset="2"/>
          <a:buChar char="§"/>
          <a:defRPr sz="1400" dirty="0" err="1" smtClean="0">
            <a:solidFill>
              <a:srgbClr val="4B4B4B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olienmaster_16x9_DE.potx" id="{397CB93F-CD6F-44E9-A982-38B5EBB5B552}" vid="{58422DA1-C179-41B8-9398-577C7904E05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aa56796-c7b2-4d3e-b63e-71a1b6748a23" xsi:nil="true"/>
    <lcf76f155ced4ddcb4097134ff3c332f xmlns="82939fe7-fed6-4672-80ba-cc90af4b9bed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9D40E3B217D0349A9B90888B1661080" ma:contentTypeVersion="18" ma:contentTypeDescription="Ein neues Dokument erstellen." ma:contentTypeScope="" ma:versionID="764b1ad873ccb0f0714832b930aadbaa">
  <xsd:schema xmlns:xsd="http://www.w3.org/2001/XMLSchema" xmlns:xs="http://www.w3.org/2001/XMLSchema" xmlns:p="http://schemas.microsoft.com/office/2006/metadata/properties" xmlns:ns2="82939fe7-fed6-4672-80ba-cc90af4b9bed" xmlns:ns3="faa56796-c7b2-4d3e-b63e-71a1b6748a23" targetNamespace="http://schemas.microsoft.com/office/2006/metadata/properties" ma:root="true" ma:fieldsID="c72cd9002f60bcb8de5f339466d89e5c" ns2:_="" ns3:_="">
    <xsd:import namespace="82939fe7-fed6-4672-80ba-cc90af4b9bed"/>
    <xsd:import namespace="faa56796-c7b2-4d3e-b63e-71a1b6748a2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939fe7-fed6-4672-80ba-cc90af4b9be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9e00f353-0966-4817-9458-30baef77fa7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5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a56796-c7b2-4d3e-b63e-71a1b6748a2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fa49ca97-bd99-439f-af16-6493a29938e0}" ma:internalName="TaxCatchAll" ma:showField="CatchAllData" ma:web="faa56796-c7b2-4d3e-b63e-71a1b6748a2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1BA62DE-A85D-42F2-9269-7C5BB32494CB}">
  <ds:schemaRefs>
    <ds:schemaRef ds:uri="82939fe7-fed6-4672-80ba-cc90af4b9bed"/>
    <ds:schemaRef ds:uri="faa56796-c7b2-4d3e-b63e-71a1b6748a2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AA1AC1C-FEE9-46FF-97E3-2D980C6A013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D6DAB75-6D41-41F3-8CB1-BF6BFB247B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2939fe7-fed6-4672-80ba-cc90af4b9bed"/>
    <ds:schemaRef ds:uri="faa56796-c7b2-4d3e-b63e-71a1b6748a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IM_Folienmaster_16x9_DE</Template>
  <TotalTime>0</TotalTime>
  <Words>339</Words>
  <Application>Microsoft Office PowerPoint</Application>
  <PresentationFormat>Widescreen</PresentationFormat>
  <Paragraphs>50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Courier New</vt:lpstr>
      <vt:lpstr>Trebuchet MS</vt:lpstr>
      <vt:lpstr>Wingdings</vt:lpstr>
      <vt:lpstr>Universität Hohenheim</vt:lpstr>
      <vt:lpstr>FairDice: An interactive lecture hall experiment to showcase the nuances of fairness</vt:lpstr>
      <vt:lpstr>All the discussed fairness notions can be found in real applications. And algorithms can implement them.</vt:lpstr>
      <vt:lpstr>ML recognizes and reproduces learned patterns… …but what if we do not approve of these patterns?</vt:lpstr>
      <vt:lpstr>There are many formalized fairness metrics to tackle  undesirable outcomes: e.g., statistical parity and equal opportunit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eyer-Hollatz, Tim</dc:creator>
  <cp:keywords/>
  <cp:lastModifiedBy>Deck, Luca</cp:lastModifiedBy>
  <cp:revision>16</cp:revision>
  <dcterms:created xsi:type="dcterms:W3CDTF">2022-03-24T08:32:59Z</dcterms:created>
  <dcterms:modified xsi:type="dcterms:W3CDTF">2024-02-14T08:54:1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D40E3B217D0349A9B90888B1661080</vt:lpwstr>
  </property>
  <property fmtid="{D5CDD505-2E9C-101B-9397-08002B2CF9AE}" pid="3" name="MediaServiceImageTags">
    <vt:lpwstr/>
  </property>
</Properties>
</file>